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257" r:id="rId2"/>
    <p:sldId id="258" r:id="rId3"/>
    <p:sldId id="259" r:id="rId4"/>
    <p:sldId id="261" r:id="rId5"/>
    <p:sldId id="265" r:id="rId6"/>
    <p:sldId id="264" r:id="rId7"/>
    <p:sldId id="262" r:id="rId8"/>
    <p:sldId id="266" r:id="rId9"/>
    <p:sldId id="263" r:id="rId10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9" d="100"/>
          <a:sy n="69" d="100"/>
        </p:scale>
        <p:origin x="1416" y="4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6480B8C-C275-4159-82F0-471BB01F43D9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32FB6D5-7A78-467A-951E-9DC9E0D970CE}">
      <dgm:prSet phldrT="[Текст]"/>
      <dgm:spPr/>
      <dgm:t>
        <a:bodyPr/>
        <a:lstStyle/>
        <a:p>
          <a:r>
            <a:rPr lang="ru-RU" b="1" dirty="0" smtClean="0"/>
            <a:t>Электроэнергия</a:t>
          </a:r>
          <a:endParaRPr lang="ru-RU" b="1" dirty="0"/>
        </a:p>
      </dgm:t>
    </dgm:pt>
    <dgm:pt modelId="{DCC1A11E-F3A7-40CB-989F-A16BF6B96208}" type="parTrans" cxnId="{D238AE18-76AC-4CEA-BAC9-B274BB6D7C23}">
      <dgm:prSet/>
      <dgm:spPr/>
      <dgm:t>
        <a:bodyPr/>
        <a:lstStyle/>
        <a:p>
          <a:endParaRPr lang="ru-RU"/>
        </a:p>
      </dgm:t>
    </dgm:pt>
    <dgm:pt modelId="{FCA01FD1-87B3-4A75-93DF-1408EE803531}" type="sibTrans" cxnId="{D238AE18-76AC-4CEA-BAC9-B274BB6D7C23}">
      <dgm:prSet/>
      <dgm:spPr/>
      <dgm:t>
        <a:bodyPr/>
        <a:lstStyle/>
        <a:p>
          <a:endParaRPr lang="ru-RU"/>
        </a:p>
      </dgm:t>
    </dgm:pt>
    <dgm:pt modelId="{8FBE1654-E836-47D8-8636-52EF0E3497A7}">
      <dgm:prSet phldrT="[Текст]"/>
      <dgm:spPr/>
      <dgm:t>
        <a:bodyPr/>
        <a:lstStyle/>
        <a:p>
          <a:r>
            <a:rPr lang="ru-RU" dirty="0" smtClean="0"/>
            <a:t>1,45 </a:t>
          </a:r>
          <a:r>
            <a:rPr lang="ru-RU" dirty="0" err="1" smtClean="0"/>
            <a:t>руб</a:t>
          </a:r>
          <a:r>
            <a:rPr lang="ru-RU" dirty="0" smtClean="0"/>
            <a:t>/кВтч</a:t>
          </a:r>
          <a:endParaRPr lang="ru-RU" dirty="0"/>
        </a:p>
      </dgm:t>
    </dgm:pt>
    <dgm:pt modelId="{A6FFA73B-21BF-4B40-8F75-673DB3916249}" type="parTrans" cxnId="{0D4AEB2F-5738-4B47-A9AD-FD6ED346B6DD}">
      <dgm:prSet/>
      <dgm:spPr/>
      <dgm:t>
        <a:bodyPr/>
        <a:lstStyle/>
        <a:p>
          <a:endParaRPr lang="ru-RU"/>
        </a:p>
      </dgm:t>
    </dgm:pt>
    <dgm:pt modelId="{0F9AA4DA-BC89-4469-B3E9-2AFF68AE51D4}" type="sibTrans" cxnId="{0D4AEB2F-5738-4B47-A9AD-FD6ED346B6DD}">
      <dgm:prSet/>
      <dgm:spPr/>
      <dgm:t>
        <a:bodyPr/>
        <a:lstStyle/>
        <a:p>
          <a:endParaRPr lang="ru-RU"/>
        </a:p>
      </dgm:t>
    </dgm:pt>
    <dgm:pt modelId="{C7698173-A12D-4894-8B3E-B3058C8A9EA3}">
      <dgm:prSet phldrT="[Текст]"/>
      <dgm:spPr/>
      <dgm:t>
        <a:bodyPr/>
        <a:lstStyle/>
        <a:p>
          <a:r>
            <a:rPr lang="ru-RU" b="1" dirty="0" smtClean="0"/>
            <a:t>Горячая вода</a:t>
          </a:r>
          <a:endParaRPr lang="ru-RU" b="1" dirty="0"/>
        </a:p>
      </dgm:t>
    </dgm:pt>
    <dgm:pt modelId="{F2177613-A5B1-4C3A-B16D-E71D5B31C940}" type="parTrans" cxnId="{BB0CFB08-7933-4656-AEFD-BF513D227F30}">
      <dgm:prSet/>
      <dgm:spPr/>
      <dgm:t>
        <a:bodyPr/>
        <a:lstStyle/>
        <a:p>
          <a:endParaRPr lang="ru-RU"/>
        </a:p>
      </dgm:t>
    </dgm:pt>
    <dgm:pt modelId="{89CEACF2-BCE1-4CC2-8105-A98DA2CA8D33}" type="sibTrans" cxnId="{BB0CFB08-7933-4656-AEFD-BF513D227F30}">
      <dgm:prSet/>
      <dgm:spPr/>
      <dgm:t>
        <a:bodyPr/>
        <a:lstStyle/>
        <a:p>
          <a:endParaRPr lang="ru-RU"/>
        </a:p>
      </dgm:t>
    </dgm:pt>
    <dgm:pt modelId="{32656E66-E3FE-4B26-A56C-541D26142A99}">
      <dgm:prSet phldrT="[Текст]" custT="1"/>
      <dgm:spPr/>
      <dgm:t>
        <a:bodyPr/>
        <a:lstStyle/>
        <a:p>
          <a:r>
            <a:rPr lang="ru-RU" sz="2200" dirty="0" smtClean="0"/>
            <a:t>51,03 </a:t>
          </a:r>
          <a:r>
            <a:rPr lang="ru-RU" sz="2200" dirty="0" err="1" smtClean="0"/>
            <a:t>руб</a:t>
          </a:r>
          <a:r>
            <a:rPr lang="ru-RU" sz="2200" dirty="0" smtClean="0"/>
            <a:t>/м</a:t>
          </a:r>
          <a:r>
            <a:rPr lang="ru-RU" sz="1600" baseline="30000" dirty="0" smtClean="0"/>
            <a:t>3</a:t>
          </a:r>
          <a:endParaRPr lang="ru-RU" sz="2200" baseline="30000" dirty="0"/>
        </a:p>
      </dgm:t>
    </dgm:pt>
    <dgm:pt modelId="{26911E98-B763-4557-996A-E9285ED30245}" type="parTrans" cxnId="{94BEB2C1-CF0F-4AD4-B781-2519F209BA14}">
      <dgm:prSet/>
      <dgm:spPr/>
      <dgm:t>
        <a:bodyPr/>
        <a:lstStyle/>
        <a:p>
          <a:endParaRPr lang="ru-RU"/>
        </a:p>
      </dgm:t>
    </dgm:pt>
    <dgm:pt modelId="{F77C6333-9B97-4F1B-87C1-6CCC1CED2286}" type="sibTrans" cxnId="{94BEB2C1-CF0F-4AD4-B781-2519F209BA14}">
      <dgm:prSet/>
      <dgm:spPr/>
      <dgm:t>
        <a:bodyPr/>
        <a:lstStyle/>
        <a:p>
          <a:endParaRPr lang="ru-RU"/>
        </a:p>
      </dgm:t>
    </dgm:pt>
    <dgm:pt modelId="{A73F1A5E-F3C6-48BD-8FEA-F719AEAA96C2}">
      <dgm:prSet phldrT="[Текст]"/>
      <dgm:spPr/>
      <dgm:t>
        <a:bodyPr/>
        <a:lstStyle/>
        <a:p>
          <a:r>
            <a:rPr lang="ru-RU" b="1" dirty="0" smtClean="0"/>
            <a:t>Стоки</a:t>
          </a:r>
          <a:endParaRPr lang="ru-RU" b="1" dirty="0"/>
        </a:p>
      </dgm:t>
    </dgm:pt>
    <dgm:pt modelId="{C21E0123-E887-4E95-9017-C76186D26B48}" type="parTrans" cxnId="{87D55672-080E-453D-9EE9-42CBD3FA430D}">
      <dgm:prSet/>
      <dgm:spPr/>
      <dgm:t>
        <a:bodyPr/>
        <a:lstStyle/>
        <a:p>
          <a:endParaRPr lang="ru-RU"/>
        </a:p>
      </dgm:t>
    </dgm:pt>
    <dgm:pt modelId="{BA215E61-D97B-4D88-889A-FD5F08C203D2}" type="sibTrans" cxnId="{87D55672-080E-453D-9EE9-42CBD3FA430D}">
      <dgm:prSet/>
      <dgm:spPr/>
      <dgm:t>
        <a:bodyPr/>
        <a:lstStyle/>
        <a:p>
          <a:endParaRPr lang="ru-RU"/>
        </a:p>
      </dgm:t>
    </dgm:pt>
    <dgm:pt modelId="{7C5CE943-DEF7-43AA-935E-17AF67493FA3}">
      <dgm:prSet phldrT="[Текст]"/>
      <dgm:spPr/>
      <dgm:t>
        <a:bodyPr/>
        <a:lstStyle/>
        <a:p>
          <a:r>
            <a:rPr lang="ru-RU" dirty="0" smtClean="0"/>
            <a:t>8,81 </a:t>
          </a:r>
          <a:r>
            <a:rPr lang="ru-RU" dirty="0" err="1" smtClean="0"/>
            <a:t>руб</a:t>
          </a:r>
          <a:r>
            <a:rPr lang="ru-RU" dirty="0" smtClean="0"/>
            <a:t>/м</a:t>
          </a:r>
          <a:r>
            <a:rPr lang="ru-RU" baseline="30000" dirty="0" smtClean="0"/>
            <a:t>3</a:t>
          </a:r>
          <a:endParaRPr lang="ru-RU" baseline="30000" dirty="0"/>
        </a:p>
      </dgm:t>
    </dgm:pt>
    <dgm:pt modelId="{6B899478-5EB7-44DF-9016-0AB4C6E8CD25}" type="parTrans" cxnId="{139825BA-B7DC-4F44-A83F-ECFFDB2E4CA0}">
      <dgm:prSet/>
      <dgm:spPr/>
      <dgm:t>
        <a:bodyPr/>
        <a:lstStyle/>
        <a:p>
          <a:endParaRPr lang="ru-RU"/>
        </a:p>
      </dgm:t>
    </dgm:pt>
    <dgm:pt modelId="{B718BD76-8E3F-4C79-AC85-8079762A4C01}" type="sibTrans" cxnId="{139825BA-B7DC-4F44-A83F-ECFFDB2E4CA0}">
      <dgm:prSet/>
      <dgm:spPr/>
      <dgm:t>
        <a:bodyPr/>
        <a:lstStyle/>
        <a:p>
          <a:endParaRPr lang="ru-RU"/>
        </a:p>
      </dgm:t>
    </dgm:pt>
    <dgm:pt modelId="{D4B18D27-D25C-4865-9C1D-D91C954AE2A3}" type="pres">
      <dgm:prSet presAssocID="{16480B8C-C275-4159-82F0-471BB01F43D9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A7B5B99-ADA9-4838-A5EE-824643846882}" type="pres">
      <dgm:prSet presAssocID="{332FB6D5-7A78-467A-951E-9DC9E0D970CE}" presName="composite" presStyleCnt="0"/>
      <dgm:spPr/>
    </dgm:pt>
    <dgm:pt modelId="{8DC22069-9D29-4D97-8D23-8E776AC35F7A}" type="pres">
      <dgm:prSet presAssocID="{332FB6D5-7A78-467A-951E-9DC9E0D970CE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675CC4B-91AF-4965-9507-B509B59E4C7E}" type="pres">
      <dgm:prSet presAssocID="{332FB6D5-7A78-467A-951E-9DC9E0D970CE}" presName="desTx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1E45285-91CB-4D15-A2E0-BD73852B87FD}" type="pres">
      <dgm:prSet presAssocID="{FCA01FD1-87B3-4A75-93DF-1408EE803531}" presName="space" presStyleCnt="0"/>
      <dgm:spPr/>
    </dgm:pt>
    <dgm:pt modelId="{D5398573-29F1-48E1-87DB-1298482B999E}" type="pres">
      <dgm:prSet presAssocID="{C7698173-A12D-4894-8B3E-B3058C8A9EA3}" presName="composite" presStyleCnt="0"/>
      <dgm:spPr/>
    </dgm:pt>
    <dgm:pt modelId="{12E8CA4D-CB7E-45EB-9D20-E49075451A93}" type="pres">
      <dgm:prSet presAssocID="{C7698173-A12D-4894-8B3E-B3058C8A9EA3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DE95FD3-4363-4751-9E28-48C781FC2DB1}" type="pres">
      <dgm:prSet presAssocID="{C7698173-A12D-4894-8B3E-B3058C8A9EA3}" presName="desTx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BA6D91-6213-4CF9-AF28-A0B643139825}" type="pres">
      <dgm:prSet presAssocID="{89CEACF2-BCE1-4CC2-8105-A98DA2CA8D33}" presName="space" presStyleCnt="0"/>
      <dgm:spPr/>
    </dgm:pt>
    <dgm:pt modelId="{9F68F5AC-6FFE-47B3-BA84-5289868DD32E}" type="pres">
      <dgm:prSet presAssocID="{A73F1A5E-F3C6-48BD-8FEA-F719AEAA96C2}" presName="composite" presStyleCnt="0"/>
      <dgm:spPr/>
    </dgm:pt>
    <dgm:pt modelId="{32610A2A-5AAB-4840-AD30-6915D974883E}" type="pres">
      <dgm:prSet presAssocID="{A73F1A5E-F3C6-48BD-8FEA-F719AEAA96C2}" presName="parTx" presStyleLbl="alignNode1" presStyleIdx="2" presStyleCnt="3" custLinFactNeighborX="-1554" custLinFactNeighborY="-341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8F9863-E6E9-48EC-ACBD-6FDC461966FA}" type="pres">
      <dgm:prSet presAssocID="{A73F1A5E-F3C6-48BD-8FEA-F719AEAA96C2}" presName="desTx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238AE18-76AC-4CEA-BAC9-B274BB6D7C23}" srcId="{16480B8C-C275-4159-82F0-471BB01F43D9}" destId="{332FB6D5-7A78-467A-951E-9DC9E0D970CE}" srcOrd="0" destOrd="0" parTransId="{DCC1A11E-F3A7-40CB-989F-A16BF6B96208}" sibTransId="{FCA01FD1-87B3-4A75-93DF-1408EE803531}"/>
    <dgm:cxn modelId="{94BEB2C1-CF0F-4AD4-B781-2519F209BA14}" srcId="{C7698173-A12D-4894-8B3E-B3058C8A9EA3}" destId="{32656E66-E3FE-4B26-A56C-541D26142A99}" srcOrd="0" destOrd="0" parTransId="{26911E98-B763-4557-996A-E9285ED30245}" sibTransId="{F77C6333-9B97-4F1B-87C1-6CCC1CED2286}"/>
    <dgm:cxn modelId="{139825BA-B7DC-4F44-A83F-ECFFDB2E4CA0}" srcId="{A73F1A5E-F3C6-48BD-8FEA-F719AEAA96C2}" destId="{7C5CE943-DEF7-43AA-935E-17AF67493FA3}" srcOrd="0" destOrd="0" parTransId="{6B899478-5EB7-44DF-9016-0AB4C6E8CD25}" sibTransId="{B718BD76-8E3F-4C79-AC85-8079762A4C01}"/>
    <dgm:cxn modelId="{87D55672-080E-453D-9EE9-42CBD3FA430D}" srcId="{16480B8C-C275-4159-82F0-471BB01F43D9}" destId="{A73F1A5E-F3C6-48BD-8FEA-F719AEAA96C2}" srcOrd="2" destOrd="0" parTransId="{C21E0123-E887-4E95-9017-C76186D26B48}" sibTransId="{BA215E61-D97B-4D88-889A-FD5F08C203D2}"/>
    <dgm:cxn modelId="{0D4AEB2F-5738-4B47-A9AD-FD6ED346B6DD}" srcId="{332FB6D5-7A78-467A-951E-9DC9E0D970CE}" destId="{8FBE1654-E836-47D8-8636-52EF0E3497A7}" srcOrd="0" destOrd="0" parTransId="{A6FFA73B-21BF-4B40-8F75-673DB3916249}" sibTransId="{0F9AA4DA-BC89-4469-B3E9-2AFF68AE51D4}"/>
    <dgm:cxn modelId="{9499B6A2-4A4D-4FAF-BE0B-BC1628F0AB22}" type="presOf" srcId="{16480B8C-C275-4159-82F0-471BB01F43D9}" destId="{D4B18D27-D25C-4865-9C1D-D91C954AE2A3}" srcOrd="0" destOrd="0" presId="urn:microsoft.com/office/officeart/2005/8/layout/hList1"/>
    <dgm:cxn modelId="{E1A3C867-3A74-4D40-87E9-BB2A6D315063}" type="presOf" srcId="{32656E66-E3FE-4B26-A56C-541D26142A99}" destId="{DDE95FD3-4363-4751-9E28-48C781FC2DB1}" srcOrd="0" destOrd="0" presId="urn:microsoft.com/office/officeart/2005/8/layout/hList1"/>
    <dgm:cxn modelId="{88416D09-DFFC-4BF1-9277-BF0644ECA622}" type="presOf" srcId="{332FB6D5-7A78-467A-951E-9DC9E0D970CE}" destId="{8DC22069-9D29-4D97-8D23-8E776AC35F7A}" srcOrd="0" destOrd="0" presId="urn:microsoft.com/office/officeart/2005/8/layout/hList1"/>
    <dgm:cxn modelId="{BB0CFB08-7933-4656-AEFD-BF513D227F30}" srcId="{16480B8C-C275-4159-82F0-471BB01F43D9}" destId="{C7698173-A12D-4894-8B3E-B3058C8A9EA3}" srcOrd="1" destOrd="0" parTransId="{F2177613-A5B1-4C3A-B16D-E71D5B31C940}" sibTransId="{89CEACF2-BCE1-4CC2-8105-A98DA2CA8D33}"/>
    <dgm:cxn modelId="{13F9697D-847C-4CE0-AF6E-A23B9A208B0F}" type="presOf" srcId="{A73F1A5E-F3C6-48BD-8FEA-F719AEAA96C2}" destId="{32610A2A-5AAB-4840-AD30-6915D974883E}" srcOrd="0" destOrd="0" presId="urn:microsoft.com/office/officeart/2005/8/layout/hList1"/>
    <dgm:cxn modelId="{B5E4A144-1FCE-44C8-924D-4B7968E1B2C4}" type="presOf" srcId="{8FBE1654-E836-47D8-8636-52EF0E3497A7}" destId="{B675CC4B-91AF-4965-9507-B509B59E4C7E}" srcOrd="0" destOrd="0" presId="urn:microsoft.com/office/officeart/2005/8/layout/hList1"/>
    <dgm:cxn modelId="{D8895C3A-F827-4464-A280-957F9647E856}" type="presOf" srcId="{7C5CE943-DEF7-43AA-935E-17AF67493FA3}" destId="{5E8F9863-E6E9-48EC-ACBD-6FDC461966FA}" srcOrd="0" destOrd="0" presId="urn:microsoft.com/office/officeart/2005/8/layout/hList1"/>
    <dgm:cxn modelId="{7CEDBD4B-87A6-488F-8DBE-7F743CA27E82}" type="presOf" srcId="{C7698173-A12D-4894-8B3E-B3058C8A9EA3}" destId="{12E8CA4D-CB7E-45EB-9D20-E49075451A93}" srcOrd="0" destOrd="0" presId="urn:microsoft.com/office/officeart/2005/8/layout/hList1"/>
    <dgm:cxn modelId="{76391826-A667-4088-A8B6-C9E3EBC19107}" type="presParOf" srcId="{D4B18D27-D25C-4865-9C1D-D91C954AE2A3}" destId="{8A7B5B99-ADA9-4838-A5EE-824643846882}" srcOrd="0" destOrd="0" presId="urn:microsoft.com/office/officeart/2005/8/layout/hList1"/>
    <dgm:cxn modelId="{E1444E02-6754-49FA-A230-1E036396F9F3}" type="presParOf" srcId="{8A7B5B99-ADA9-4838-A5EE-824643846882}" destId="{8DC22069-9D29-4D97-8D23-8E776AC35F7A}" srcOrd="0" destOrd="0" presId="urn:microsoft.com/office/officeart/2005/8/layout/hList1"/>
    <dgm:cxn modelId="{A30D7DFD-451A-449D-A03E-126C5F868F9F}" type="presParOf" srcId="{8A7B5B99-ADA9-4838-A5EE-824643846882}" destId="{B675CC4B-91AF-4965-9507-B509B59E4C7E}" srcOrd="1" destOrd="0" presId="urn:microsoft.com/office/officeart/2005/8/layout/hList1"/>
    <dgm:cxn modelId="{6D9E0E20-C120-41A5-9062-3DC6540C3AFC}" type="presParOf" srcId="{D4B18D27-D25C-4865-9C1D-D91C954AE2A3}" destId="{11E45285-91CB-4D15-A2E0-BD73852B87FD}" srcOrd="1" destOrd="0" presId="urn:microsoft.com/office/officeart/2005/8/layout/hList1"/>
    <dgm:cxn modelId="{9E198372-F87B-4BF1-BDEE-C5BFF7205F05}" type="presParOf" srcId="{D4B18D27-D25C-4865-9C1D-D91C954AE2A3}" destId="{D5398573-29F1-48E1-87DB-1298482B999E}" srcOrd="2" destOrd="0" presId="urn:microsoft.com/office/officeart/2005/8/layout/hList1"/>
    <dgm:cxn modelId="{EC544E9B-6B08-4779-BC03-AED08B4A7FAB}" type="presParOf" srcId="{D5398573-29F1-48E1-87DB-1298482B999E}" destId="{12E8CA4D-CB7E-45EB-9D20-E49075451A93}" srcOrd="0" destOrd="0" presId="urn:microsoft.com/office/officeart/2005/8/layout/hList1"/>
    <dgm:cxn modelId="{406D0ABC-14A8-402E-AE51-F7753BB8FB28}" type="presParOf" srcId="{D5398573-29F1-48E1-87DB-1298482B999E}" destId="{DDE95FD3-4363-4751-9E28-48C781FC2DB1}" srcOrd="1" destOrd="0" presId="urn:microsoft.com/office/officeart/2005/8/layout/hList1"/>
    <dgm:cxn modelId="{63CE7DD6-EB2F-4F71-AB06-5AAA4EA7CD91}" type="presParOf" srcId="{D4B18D27-D25C-4865-9C1D-D91C954AE2A3}" destId="{4EBA6D91-6213-4CF9-AF28-A0B643139825}" srcOrd="3" destOrd="0" presId="urn:microsoft.com/office/officeart/2005/8/layout/hList1"/>
    <dgm:cxn modelId="{AB2CF81B-39BC-4E7A-9D27-6094BAF1CA2C}" type="presParOf" srcId="{D4B18D27-D25C-4865-9C1D-D91C954AE2A3}" destId="{9F68F5AC-6FFE-47B3-BA84-5289868DD32E}" srcOrd="4" destOrd="0" presId="urn:microsoft.com/office/officeart/2005/8/layout/hList1"/>
    <dgm:cxn modelId="{9295198A-BD4E-463C-B3FA-E311485F3286}" type="presParOf" srcId="{9F68F5AC-6FFE-47B3-BA84-5289868DD32E}" destId="{32610A2A-5AAB-4840-AD30-6915D974883E}" srcOrd="0" destOrd="0" presId="urn:microsoft.com/office/officeart/2005/8/layout/hList1"/>
    <dgm:cxn modelId="{626C4C69-2A44-4CCE-967E-49AA3A22A9F6}" type="presParOf" srcId="{9F68F5AC-6FFE-47B3-BA84-5289868DD32E}" destId="{5E8F9863-E6E9-48EC-ACBD-6FDC461966FA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6480B8C-C275-4159-82F0-471BB01F43D9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32FB6D5-7A78-467A-951E-9DC9E0D970CE}">
      <dgm:prSet phldrT="[Текст]"/>
      <dgm:spPr/>
      <dgm:t>
        <a:bodyPr/>
        <a:lstStyle/>
        <a:p>
          <a:r>
            <a:rPr lang="ru-RU" b="1" dirty="0" err="1" smtClean="0"/>
            <a:t>Теплоэнергия</a:t>
          </a:r>
          <a:endParaRPr lang="ru-RU" b="1" dirty="0"/>
        </a:p>
      </dgm:t>
    </dgm:pt>
    <dgm:pt modelId="{DCC1A11E-F3A7-40CB-989F-A16BF6B96208}" type="parTrans" cxnId="{D238AE18-76AC-4CEA-BAC9-B274BB6D7C23}">
      <dgm:prSet/>
      <dgm:spPr/>
      <dgm:t>
        <a:bodyPr/>
        <a:lstStyle/>
        <a:p>
          <a:endParaRPr lang="ru-RU"/>
        </a:p>
      </dgm:t>
    </dgm:pt>
    <dgm:pt modelId="{FCA01FD1-87B3-4A75-93DF-1408EE803531}" type="sibTrans" cxnId="{D238AE18-76AC-4CEA-BAC9-B274BB6D7C23}">
      <dgm:prSet/>
      <dgm:spPr/>
      <dgm:t>
        <a:bodyPr/>
        <a:lstStyle/>
        <a:p>
          <a:endParaRPr lang="ru-RU"/>
        </a:p>
      </dgm:t>
    </dgm:pt>
    <dgm:pt modelId="{8FBE1654-E836-47D8-8636-52EF0E3497A7}">
      <dgm:prSet phldrT="[Текст]"/>
      <dgm:spPr/>
      <dgm:t>
        <a:bodyPr/>
        <a:lstStyle/>
        <a:p>
          <a:r>
            <a:rPr lang="ru-RU" dirty="0" smtClean="0"/>
            <a:t>826,78 </a:t>
          </a:r>
          <a:r>
            <a:rPr lang="ru-RU" dirty="0" err="1" smtClean="0"/>
            <a:t>руб</a:t>
          </a:r>
          <a:r>
            <a:rPr lang="ru-RU" dirty="0" smtClean="0"/>
            <a:t>/Гкал</a:t>
          </a:r>
          <a:endParaRPr lang="ru-RU" dirty="0"/>
        </a:p>
      </dgm:t>
    </dgm:pt>
    <dgm:pt modelId="{A6FFA73B-21BF-4B40-8F75-673DB3916249}" type="parTrans" cxnId="{0D4AEB2F-5738-4B47-A9AD-FD6ED346B6DD}">
      <dgm:prSet/>
      <dgm:spPr/>
      <dgm:t>
        <a:bodyPr/>
        <a:lstStyle/>
        <a:p>
          <a:endParaRPr lang="ru-RU"/>
        </a:p>
      </dgm:t>
    </dgm:pt>
    <dgm:pt modelId="{0F9AA4DA-BC89-4469-B3E9-2AFF68AE51D4}" type="sibTrans" cxnId="{0D4AEB2F-5738-4B47-A9AD-FD6ED346B6DD}">
      <dgm:prSet/>
      <dgm:spPr/>
      <dgm:t>
        <a:bodyPr/>
        <a:lstStyle/>
        <a:p>
          <a:endParaRPr lang="ru-RU"/>
        </a:p>
      </dgm:t>
    </dgm:pt>
    <dgm:pt modelId="{C7698173-A12D-4894-8B3E-B3058C8A9EA3}">
      <dgm:prSet phldrT="[Текст]"/>
      <dgm:spPr/>
      <dgm:t>
        <a:bodyPr/>
        <a:lstStyle/>
        <a:p>
          <a:r>
            <a:rPr lang="ru-RU" b="1" dirty="0" smtClean="0"/>
            <a:t>Артезианская вода</a:t>
          </a:r>
          <a:endParaRPr lang="ru-RU" b="1" dirty="0"/>
        </a:p>
      </dgm:t>
    </dgm:pt>
    <dgm:pt modelId="{F2177613-A5B1-4C3A-B16D-E71D5B31C940}" type="parTrans" cxnId="{BB0CFB08-7933-4656-AEFD-BF513D227F30}">
      <dgm:prSet/>
      <dgm:spPr/>
      <dgm:t>
        <a:bodyPr/>
        <a:lstStyle/>
        <a:p>
          <a:endParaRPr lang="ru-RU"/>
        </a:p>
      </dgm:t>
    </dgm:pt>
    <dgm:pt modelId="{89CEACF2-BCE1-4CC2-8105-A98DA2CA8D33}" type="sibTrans" cxnId="{BB0CFB08-7933-4656-AEFD-BF513D227F30}">
      <dgm:prSet/>
      <dgm:spPr/>
      <dgm:t>
        <a:bodyPr/>
        <a:lstStyle/>
        <a:p>
          <a:endParaRPr lang="ru-RU"/>
        </a:p>
      </dgm:t>
    </dgm:pt>
    <dgm:pt modelId="{32656E66-E3FE-4B26-A56C-541D26142A99}">
      <dgm:prSet phldrT="[Текст]"/>
      <dgm:spPr/>
      <dgm:t>
        <a:bodyPr/>
        <a:lstStyle/>
        <a:p>
          <a:r>
            <a:rPr lang="ru-RU" dirty="0" smtClean="0"/>
            <a:t>9,49 </a:t>
          </a:r>
          <a:r>
            <a:rPr lang="ru-RU" dirty="0" err="1" smtClean="0"/>
            <a:t>руб</a:t>
          </a:r>
          <a:r>
            <a:rPr lang="ru-RU" dirty="0" smtClean="0"/>
            <a:t>/м</a:t>
          </a:r>
          <a:r>
            <a:rPr lang="ru-RU" baseline="30000" dirty="0" smtClean="0"/>
            <a:t>3</a:t>
          </a:r>
          <a:endParaRPr lang="ru-RU" baseline="30000" dirty="0"/>
        </a:p>
      </dgm:t>
    </dgm:pt>
    <dgm:pt modelId="{26911E98-B763-4557-996A-E9285ED30245}" type="parTrans" cxnId="{94BEB2C1-CF0F-4AD4-B781-2519F209BA14}">
      <dgm:prSet/>
      <dgm:spPr/>
      <dgm:t>
        <a:bodyPr/>
        <a:lstStyle/>
        <a:p>
          <a:endParaRPr lang="ru-RU"/>
        </a:p>
      </dgm:t>
    </dgm:pt>
    <dgm:pt modelId="{F77C6333-9B97-4F1B-87C1-6CCC1CED2286}" type="sibTrans" cxnId="{94BEB2C1-CF0F-4AD4-B781-2519F209BA14}">
      <dgm:prSet/>
      <dgm:spPr/>
      <dgm:t>
        <a:bodyPr/>
        <a:lstStyle/>
        <a:p>
          <a:endParaRPr lang="ru-RU"/>
        </a:p>
      </dgm:t>
    </dgm:pt>
    <dgm:pt modelId="{A73F1A5E-F3C6-48BD-8FEA-F719AEAA96C2}">
      <dgm:prSet phldrT="[Текст]"/>
      <dgm:spPr/>
      <dgm:t>
        <a:bodyPr/>
        <a:lstStyle/>
        <a:p>
          <a:r>
            <a:rPr lang="ru-RU" b="1" dirty="0" smtClean="0"/>
            <a:t>Техническая вода</a:t>
          </a:r>
          <a:endParaRPr lang="ru-RU" b="1" dirty="0"/>
        </a:p>
      </dgm:t>
    </dgm:pt>
    <dgm:pt modelId="{C21E0123-E887-4E95-9017-C76186D26B48}" type="parTrans" cxnId="{87D55672-080E-453D-9EE9-42CBD3FA430D}">
      <dgm:prSet/>
      <dgm:spPr/>
      <dgm:t>
        <a:bodyPr/>
        <a:lstStyle/>
        <a:p>
          <a:endParaRPr lang="ru-RU"/>
        </a:p>
      </dgm:t>
    </dgm:pt>
    <dgm:pt modelId="{BA215E61-D97B-4D88-889A-FD5F08C203D2}" type="sibTrans" cxnId="{87D55672-080E-453D-9EE9-42CBD3FA430D}">
      <dgm:prSet/>
      <dgm:spPr/>
      <dgm:t>
        <a:bodyPr/>
        <a:lstStyle/>
        <a:p>
          <a:endParaRPr lang="ru-RU"/>
        </a:p>
      </dgm:t>
    </dgm:pt>
    <dgm:pt modelId="{7C5CE943-DEF7-43AA-935E-17AF67493FA3}">
      <dgm:prSet phldrT="[Текст]"/>
      <dgm:spPr/>
      <dgm:t>
        <a:bodyPr/>
        <a:lstStyle/>
        <a:p>
          <a:r>
            <a:rPr lang="ru-RU" dirty="0" smtClean="0"/>
            <a:t>7,86 </a:t>
          </a:r>
          <a:r>
            <a:rPr lang="ru-RU" dirty="0" err="1" smtClean="0"/>
            <a:t>руб</a:t>
          </a:r>
          <a:r>
            <a:rPr lang="ru-RU" dirty="0" smtClean="0"/>
            <a:t>/м</a:t>
          </a:r>
          <a:r>
            <a:rPr lang="ru-RU" baseline="30000" dirty="0" smtClean="0"/>
            <a:t>3</a:t>
          </a:r>
          <a:endParaRPr lang="ru-RU" baseline="30000" dirty="0"/>
        </a:p>
      </dgm:t>
    </dgm:pt>
    <dgm:pt modelId="{6B899478-5EB7-44DF-9016-0AB4C6E8CD25}" type="parTrans" cxnId="{139825BA-B7DC-4F44-A83F-ECFFDB2E4CA0}">
      <dgm:prSet/>
      <dgm:spPr/>
      <dgm:t>
        <a:bodyPr/>
        <a:lstStyle/>
        <a:p>
          <a:endParaRPr lang="ru-RU"/>
        </a:p>
      </dgm:t>
    </dgm:pt>
    <dgm:pt modelId="{B718BD76-8E3F-4C79-AC85-8079762A4C01}" type="sibTrans" cxnId="{139825BA-B7DC-4F44-A83F-ECFFDB2E4CA0}">
      <dgm:prSet/>
      <dgm:spPr/>
      <dgm:t>
        <a:bodyPr/>
        <a:lstStyle/>
        <a:p>
          <a:endParaRPr lang="ru-RU"/>
        </a:p>
      </dgm:t>
    </dgm:pt>
    <dgm:pt modelId="{D4B18D27-D25C-4865-9C1D-D91C954AE2A3}" type="pres">
      <dgm:prSet presAssocID="{16480B8C-C275-4159-82F0-471BB01F43D9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A7B5B99-ADA9-4838-A5EE-824643846882}" type="pres">
      <dgm:prSet presAssocID="{332FB6D5-7A78-467A-951E-9DC9E0D970CE}" presName="composite" presStyleCnt="0"/>
      <dgm:spPr/>
    </dgm:pt>
    <dgm:pt modelId="{8DC22069-9D29-4D97-8D23-8E776AC35F7A}" type="pres">
      <dgm:prSet presAssocID="{332FB6D5-7A78-467A-951E-9DC9E0D970CE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675CC4B-91AF-4965-9507-B509B59E4C7E}" type="pres">
      <dgm:prSet presAssocID="{332FB6D5-7A78-467A-951E-9DC9E0D970CE}" presName="desTx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1E45285-91CB-4D15-A2E0-BD73852B87FD}" type="pres">
      <dgm:prSet presAssocID="{FCA01FD1-87B3-4A75-93DF-1408EE803531}" presName="space" presStyleCnt="0"/>
      <dgm:spPr/>
    </dgm:pt>
    <dgm:pt modelId="{D5398573-29F1-48E1-87DB-1298482B999E}" type="pres">
      <dgm:prSet presAssocID="{C7698173-A12D-4894-8B3E-B3058C8A9EA3}" presName="composite" presStyleCnt="0"/>
      <dgm:spPr/>
    </dgm:pt>
    <dgm:pt modelId="{12E8CA4D-CB7E-45EB-9D20-E49075451A93}" type="pres">
      <dgm:prSet presAssocID="{C7698173-A12D-4894-8B3E-B3058C8A9EA3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DE95FD3-4363-4751-9E28-48C781FC2DB1}" type="pres">
      <dgm:prSet presAssocID="{C7698173-A12D-4894-8B3E-B3058C8A9EA3}" presName="desTx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BA6D91-6213-4CF9-AF28-A0B643139825}" type="pres">
      <dgm:prSet presAssocID="{89CEACF2-BCE1-4CC2-8105-A98DA2CA8D33}" presName="space" presStyleCnt="0"/>
      <dgm:spPr/>
    </dgm:pt>
    <dgm:pt modelId="{9F68F5AC-6FFE-47B3-BA84-5289868DD32E}" type="pres">
      <dgm:prSet presAssocID="{A73F1A5E-F3C6-48BD-8FEA-F719AEAA96C2}" presName="composite" presStyleCnt="0"/>
      <dgm:spPr/>
    </dgm:pt>
    <dgm:pt modelId="{32610A2A-5AAB-4840-AD30-6915D974883E}" type="pres">
      <dgm:prSet presAssocID="{A73F1A5E-F3C6-48BD-8FEA-F719AEAA96C2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8F9863-E6E9-48EC-ACBD-6FDC461966FA}" type="pres">
      <dgm:prSet presAssocID="{A73F1A5E-F3C6-48BD-8FEA-F719AEAA96C2}" presName="desTx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69E744B-212C-4E35-AA85-BECA06AA8959}" type="presOf" srcId="{16480B8C-C275-4159-82F0-471BB01F43D9}" destId="{D4B18D27-D25C-4865-9C1D-D91C954AE2A3}" srcOrd="0" destOrd="0" presId="urn:microsoft.com/office/officeart/2005/8/layout/hList1"/>
    <dgm:cxn modelId="{139825BA-B7DC-4F44-A83F-ECFFDB2E4CA0}" srcId="{A73F1A5E-F3C6-48BD-8FEA-F719AEAA96C2}" destId="{7C5CE943-DEF7-43AA-935E-17AF67493FA3}" srcOrd="0" destOrd="0" parTransId="{6B899478-5EB7-44DF-9016-0AB4C6E8CD25}" sibTransId="{B718BD76-8E3F-4C79-AC85-8079762A4C01}"/>
    <dgm:cxn modelId="{E569C68E-8570-4DE1-944E-B0CFCA5BF9B9}" type="presOf" srcId="{A73F1A5E-F3C6-48BD-8FEA-F719AEAA96C2}" destId="{32610A2A-5AAB-4840-AD30-6915D974883E}" srcOrd="0" destOrd="0" presId="urn:microsoft.com/office/officeart/2005/8/layout/hList1"/>
    <dgm:cxn modelId="{EC4B2756-4FD2-4B40-A840-8D23AE5DCB15}" type="presOf" srcId="{8FBE1654-E836-47D8-8636-52EF0E3497A7}" destId="{B675CC4B-91AF-4965-9507-B509B59E4C7E}" srcOrd="0" destOrd="0" presId="urn:microsoft.com/office/officeart/2005/8/layout/hList1"/>
    <dgm:cxn modelId="{0A45B532-1402-4B1C-AA68-3CB2F8F4694B}" type="presOf" srcId="{32656E66-E3FE-4B26-A56C-541D26142A99}" destId="{DDE95FD3-4363-4751-9E28-48C781FC2DB1}" srcOrd="0" destOrd="0" presId="urn:microsoft.com/office/officeart/2005/8/layout/hList1"/>
    <dgm:cxn modelId="{87D55672-080E-453D-9EE9-42CBD3FA430D}" srcId="{16480B8C-C275-4159-82F0-471BB01F43D9}" destId="{A73F1A5E-F3C6-48BD-8FEA-F719AEAA96C2}" srcOrd="2" destOrd="0" parTransId="{C21E0123-E887-4E95-9017-C76186D26B48}" sibTransId="{BA215E61-D97B-4D88-889A-FD5F08C203D2}"/>
    <dgm:cxn modelId="{94BEB2C1-CF0F-4AD4-B781-2519F209BA14}" srcId="{C7698173-A12D-4894-8B3E-B3058C8A9EA3}" destId="{32656E66-E3FE-4B26-A56C-541D26142A99}" srcOrd="0" destOrd="0" parTransId="{26911E98-B763-4557-996A-E9285ED30245}" sibTransId="{F77C6333-9B97-4F1B-87C1-6CCC1CED2286}"/>
    <dgm:cxn modelId="{4553A205-1716-41AF-8CDE-31A9F57A8317}" type="presOf" srcId="{7C5CE943-DEF7-43AA-935E-17AF67493FA3}" destId="{5E8F9863-E6E9-48EC-ACBD-6FDC461966FA}" srcOrd="0" destOrd="0" presId="urn:microsoft.com/office/officeart/2005/8/layout/hList1"/>
    <dgm:cxn modelId="{E2FC5685-6668-4915-AF3A-ABDEC916CFD5}" type="presOf" srcId="{332FB6D5-7A78-467A-951E-9DC9E0D970CE}" destId="{8DC22069-9D29-4D97-8D23-8E776AC35F7A}" srcOrd="0" destOrd="0" presId="urn:microsoft.com/office/officeart/2005/8/layout/hList1"/>
    <dgm:cxn modelId="{ABAA994A-849D-4F0C-BAEC-6F358F0B56CA}" type="presOf" srcId="{C7698173-A12D-4894-8B3E-B3058C8A9EA3}" destId="{12E8CA4D-CB7E-45EB-9D20-E49075451A93}" srcOrd="0" destOrd="0" presId="urn:microsoft.com/office/officeart/2005/8/layout/hList1"/>
    <dgm:cxn modelId="{D238AE18-76AC-4CEA-BAC9-B274BB6D7C23}" srcId="{16480B8C-C275-4159-82F0-471BB01F43D9}" destId="{332FB6D5-7A78-467A-951E-9DC9E0D970CE}" srcOrd="0" destOrd="0" parTransId="{DCC1A11E-F3A7-40CB-989F-A16BF6B96208}" sibTransId="{FCA01FD1-87B3-4A75-93DF-1408EE803531}"/>
    <dgm:cxn modelId="{0D4AEB2F-5738-4B47-A9AD-FD6ED346B6DD}" srcId="{332FB6D5-7A78-467A-951E-9DC9E0D970CE}" destId="{8FBE1654-E836-47D8-8636-52EF0E3497A7}" srcOrd="0" destOrd="0" parTransId="{A6FFA73B-21BF-4B40-8F75-673DB3916249}" sibTransId="{0F9AA4DA-BC89-4469-B3E9-2AFF68AE51D4}"/>
    <dgm:cxn modelId="{BB0CFB08-7933-4656-AEFD-BF513D227F30}" srcId="{16480B8C-C275-4159-82F0-471BB01F43D9}" destId="{C7698173-A12D-4894-8B3E-B3058C8A9EA3}" srcOrd="1" destOrd="0" parTransId="{F2177613-A5B1-4C3A-B16D-E71D5B31C940}" sibTransId="{89CEACF2-BCE1-4CC2-8105-A98DA2CA8D33}"/>
    <dgm:cxn modelId="{2658DA00-ACB7-4309-803C-864A3F12C9C9}" type="presParOf" srcId="{D4B18D27-D25C-4865-9C1D-D91C954AE2A3}" destId="{8A7B5B99-ADA9-4838-A5EE-824643846882}" srcOrd="0" destOrd="0" presId="urn:microsoft.com/office/officeart/2005/8/layout/hList1"/>
    <dgm:cxn modelId="{3ED5C6BE-E3D4-441F-909A-9514C921294F}" type="presParOf" srcId="{8A7B5B99-ADA9-4838-A5EE-824643846882}" destId="{8DC22069-9D29-4D97-8D23-8E776AC35F7A}" srcOrd="0" destOrd="0" presId="urn:microsoft.com/office/officeart/2005/8/layout/hList1"/>
    <dgm:cxn modelId="{EBC0DF91-B1A4-4893-B74B-ED9ACD616D43}" type="presParOf" srcId="{8A7B5B99-ADA9-4838-A5EE-824643846882}" destId="{B675CC4B-91AF-4965-9507-B509B59E4C7E}" srcOrd="1" destOrd="0" presId="urn:microsoft.com/office/officeart/2005/8/layout/hList1"/>
    <dgm:cxn modelId="{17819132-3703-4C4D-8079-C17BCCE69E0F}" type="presParOf" srcId="{D4B18D27-D25C-4865-9C1D-D91C954AE2A3}" destId="{11E45285-91CB-4D15-A2E0-BD73852B87FD}" srcOrd="1" destOrd="0" presId="urn:microsoft.com/office/officeart/2005/8/layout/hList1"/>
    <dgm:cxn modelId="{48B86336-ACD2-4A10-B8F7-F84A8D83AF85}" type="presParOf" srcId="{D4B18D27-D25C-4865-9C1D-D91C954AE2A3}" destId="{D5398573-29F1-48E1-87DB-1298482B999E}" srcOrd="2" destOrd="0" presId="urn:microsoft.com/office/officeart/2005/8/layout/hList1"/>
    <dgm:cxn modelId="{CFF43ED5-F22A-42E4-A201-C03D31CC1FF1}" type="presParOf" srcId="{D5398573-29F1-48E1-87DB-1298482B999E}" destId="{12E8CA4D-CB7E-45EB-9D20-E49075451A93}" srcOrd="0" destOrd="0" presId="urn:microsoft.com/office/officeart/2005/8/layout/hList1"/>
    <dgm:cxn modelId="{31660B2B-BF80-4CCD-A279-B73C3D6A102E}" type="presParOf" srcId="{D5398573-29F1-48E1-87DB-1298482B999E}" destId="{DDE95FD3-4363-4751-9E28-48C781FC2DB1}" srcOrd="1" destOrd="0" presId="urn:microsoft.com/office/officeart/2005/8/layout/hList1"/>
    <dgm:cxn modelId="{4A3BA49A-C28C-4AF5-8EF6-FCFF88F9C046}" type="presParOf" srcId="{D4B18D27-D25C-4865-9C1D-D91C954AE2A3}" destId="{4EBA6D91-6213-4CF9-AF28-A0B643139825}" srcOrd="3" destOrd="0" presId="urn:microsoft.com/office/officeart/2005/8/layout/hList1"/>
    <dgm:cxn modelId="{81EF62C7-EBED-4129-B7B6-410266656CBF}" type="presParOf" srcId="{D4B18D27-D25C-4865-9C1D-D91C954AE2A3}" destId="{9F68F5AC-6FFE-47B3-BA84-5289868DD32E}" srcOrd="4" destOrd="0" presId="urn:microsoft.com/office/officeart/2005/8/layout/hList1"/>
    <dgm:cxn modelId="{50A6E927-5190-484E-A722-1947C68FBAC5}" type="presParOf" srcId="{9F68F5AC-6FFE-47B3-BA84-5289868DD32E}" destId="{32610A2A-5AAB-4840-AD30-6915D974883E}" srcOrd="0" destOrd="0" presId="urn:microsoft.com/office/officeart/2005/8/layout/hList1"/>
    <dgm:cxn modelId="{15BD7279-920B-4B3E-82EC-98F6130D0C80}" type="presParOf" srcId="{9F68F5AC-6FFE-47B3-BA84-5289868DD32E}" destId="{5E8F9863-E6E9-48EC-ACBD-6FDC461966FA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C22069-9D29-4D97-8D23-8E776AC35F7A}">
      <dsp:nvSpPr>
        <dsp:cNvPr id="0" name=""/>
        <dsp:cNvSpPr/>
      </dsp:nvSpPr>
      <dsp:spPr>
        <a:xfrm>
          <a:off x="2522" y="21617"/>
          <a:ext cx="2459588" cy="6336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89408" rIns="156464" bIns="89408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b="1" kern="1200" dirty="0" smtClean="0"/>
            <a:t>Электроэнергия</a:t>
          </a:r>
          <a:endParaRPr lang="ru-RU" sz="2200" b="1" kern="1200" dirty="0"/>
        </a:p>
      </dsp:txBody>
      <dsp:txXfrm>
        <a:off x="2522" y="21617"/>
        <a:ext cx="2459588" cy="633600"/>
      </dsp:txXfrm>
    </dsp:sp>
    <dsp:sp modelId="{B675CC4B-91AF-4965-9507-B509B59E4C7E}">
      <dsp:nvSpPr>
        <dsp:cNvPr id="0" name=""/>
        <dsp:cNvSpPr/>
      </dsp:nvSpPr>
      <dsp:spPr>
        <a:xfrm>
          <a:off x="2522" y="655217"/>
          <a:ext cx="2459588" cy="96624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200" kern="1200" dirty="0" smtClean="0"/>
            <a:t>1,45 </a:t>
          </a:r>
          <a:r>
            <a:rPr lang="ru-RU" sz="2200" kern="1200" dirty="0" err="1" smtClean="0"/>
            <a:t>руб</a:t>
          </a:r>
          <a:r>
            <a:rPr lang="ru-RU" sz="2200" kern="1200" dirty="0" smtClean="0"/>
            <a:t>/кВтч</a:t>
          </a:r>
          <a:endParaRPr lang="ru-RU" sz="2200" kern="1200" dirty="0"/>
        </a:p>
      </dsp:txBody>
      <dsp:txXfrm>
        <a:off x="2522" y="655217"/>
        <a:ext cx="2459588" cy="966240"/>
      </dsp:txXfrm>
    </dsp:sp>
    <dsp:sp modelId="{12E8CA4D-CB7E-45EB-9D20-E49075451A93}">
      <dsp:nvSpPr>
        <dsp:cNvPr id="0" name=""/>
        <dsp:cNvSpPr/>
      </dsp:nvSpPr>
      <dsp:spPr>
        <a:xfrm>
          <a:off x="2806452" y="21617"/>
          <a:ext cx="2459588" cy="6336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89408" rIns="156464" bIns="89408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b="1" kern="1200" dirty="0" smtClean="0"/>
            <a:t>Горячая вода</a:t>
          </a:r>
          <a:endParaRPr lang="ru-RU" sz="2200" b="1" kern="1200" dirty="0"/>
        </a:p>
      </dsp:txBody>
      <dsp:txXfrm>
        <a:off x="2806452" y="21617"/>
        <a:ext cx="2459588" cy="633600"/>
      </dsp:txXfrm>
    </dsp:sp>
    <dsp:sp modelId="{DDE95FD3-4363-4751-9E28-48C781FC2DB1}">
      <dsp:nvSpPr>
        <dsp:cNvPr id="0" name=""/>
        <dsp:cNvSpPr/>
      </dsp:nvSpPr>
      <dsp:spPr>
        <a:xfrm>
          <a:off x="2806452" y="655217"/>
          <a:ext cx="2459588" cy="96624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200" kern="1200" dirty="0" smtClean="0"/>
            <a:t>51,03 </a:t>
          </a:r>
          <a:r>
            <a:rPr lang="ru-RU" sz="2200" kern="1200" dirty="0" err="1" smtClean="0"/>
            <a:t>руб</a:t>
          </a:r>
          <a:r>
            <a:rPr lang="ru-RU" sz="2200" kern="1200" dirty="0" smtClean="0"/>
            <a:t>/м</a:t>
          </a:r>
          <a:r>
            <a:rPr lang="ru-RU" sz="1600" kern="1200" baseline="30000" dirty="0" smtClean="0"/>
            <a:t>3</a:t>
          </a:r>
          <a:endParaRPr lang="ru-RU" sz="2200" kern="1200" baseline="30000" dirty="0"/>
        </a:p>
      </dsp:txBody>
      <dsp:txXfrm>
        <a:off x="2806452" y="655217"/>
        <a:ext cx="2459588" cy="966240"/>
      </dsp:txXfrm>
    </dsp:sp>
    <dsp:sp modelId="{32610A2A-5AAB-4840-AD30-6915D974883E}">
      <dsp:nvSpPr>
        <dsp:cNvPr id="0" name=""/>
        <dsp:cNvSpPr/>
      </dsp:nvSpPr>
      <dsp:spPr>
        <a:xfrm>
          <a:off x="5572161" y="0"/>
          <a:ext cx="2459588" cy="6336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89408" rIns="156464" bIns="89408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b="1" kern="1200" dirty="0" smtClean="0"/>
            <a:t>Стоки</a:t>
          </a:r>
          <a:endParaRPr lang="ru-RU" sz="2200" b="1" kern="1200" dirty="0"/>
        </a:p>
      </dsp:txBody>
      <dsp:txXfrm>
        <a:off x="5572161" y="0"/>
        <a:ext cx="2459588" cy="633600"/>
      </dsp:txXfrm>
    </dsp:sp>
    <dsp:sp modelId="{5E8F9863-E6E9-48EC-ACBD-6FDC461966FA}">
      <dsp:nvSpPr>
        <dsp:cNvPr id="0" name=""/>
        <dsp:cNvSpPr/>
      </dsp:nvSpPr>
      <dsp:spPr>
        <a:xfrm>
          <a:off x="5610383" y="655217"/>
          <a:ext cx="2459588" cy="96624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200" kern="1200" dirty="0" smtClean="0"/>
            <a:t>8,81 </a:t>
          </a:r>
          <a:r>
            <a:rPr lang="ru-RU" sz="2200" kern="1200" dirty="0" err="1" smtClean="0"/>
            <a:t>руб</a:t>
          </a:r>
          <a:r>
            <a:rPr lang="ru-RU" sz="2200" kern="1200" dirty="0" smtClean="0"/>
            <a:t>/м</a:t>
          </a:r>
          <a:r>
            <a:rPr lang="ru-RU" sz="2200" kern="1200" baseline="30000" dirty="0" smtClean="0"/>
            <a:t>3</a:t>
          </a:r>
          <a:endParaRPr lang="ru-RU" sz="2200" kern="1200" baseline="30000" dirty="0"/>
        </a:p>
      </dsp:txBody>
      <dsp:txXfrm>
        <a:off x="5610383" y="655217"/>
        <a:ext cx="2459588" cy="96624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C22069-9D29-4D97-8D23-8E776AC35F7A}">
      <dsp:nvSpPr>
        <dsp:cNvPr id="0" name=""/>
        <dsp:cNvSpPr/>
      </dsp:nvSpPr>
      <dsp:spPr>
        <a:xfrm>
          <a:off x="2522" y="7809"/>
          <a:ext cx="2459588" cy="576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err="1" smtClean="0"/>
            <a:t>Теплоэнергия</a:t>
          </a:r>
          <a:endParaRPr lang="ru-RU" sz="2000" b="1" kern="1200" dirty="0"/>
        </a:p>
      </dsp:txBody>
      <dsp:txXfrm>
        <a:off x="2522" y="7809"/>
        <a:ext cx="2459588" cy="576000"/>
      </dsp:txXfrm>
    </dsp:sp>
    <dsp:sp modelId="{B675CC4B-91AF-4965-9507-B509B59E4C7E}">
      <dsp:nvSpPr>
        <dsp:cNvPr id="0" name=""/>
        <dsp:cNvSpPr/>
      </dsp:nvSpPr>
      <dsp:spPr>
        <a:xfrm>
          <a:off x="2522" y="583810"/>
          <a:ext cx="2459588" cy="8784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kern="1200" dirty="0" smtClean="0"/>
            <a:t>826,78 </a:t>
          </a:r>
          <a:r>
            <a:rPr lang="ru-RU" sz="2000" kern="1200" dirty="0" err="1" smtClean="0"/>
            <a:t>руб</a:t>
          </a:r>
          <a:r>
            <a:rPr lang="ru-RU" sz="2000" kern="1200" dirty="0" smtClean="0"/>
            <a:t>/Гкал</a:t>
          </a:r>
          <a:endParaRPr lang="ru-RU" sz="2000" kern="1200" dirty="0"/>
        </a:p>
      </dsp:txBody>
      <dsp:txXfrm>
        <a:off x="2522" y="583810"/>
        <a:ext cx="2459588" cy="878400"/>
      </dsp:txXfrm>
    </dsp:sp>
    <dsp:sp modelId="{12E8CA4D-CB7E-45EB-9D20-E49075451A93}">
      <dsp:nvSpPr>
        <dsp:cNvPr id="0" name=""/>
        <dsp:cNvSpPr/>
      </dsp:nvSpPr>
      <dsp:spPr>
        <a:xfrm>
          <a:off x="2806452" y="7809"/>
          <a:ext cx="2459588" cy="576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Артезианская вода</a:t>
          </a:r>
          <a:endParaRPr lang="ru-RU" sz="2000" b="1" kern="1200" dirty="0"/>
        </a:p>
      </dsp:txBody>
      <dsp:txXfrm>
        <a:off x="2806452" y="7809"/>
        <a:ext cx="2459588" cy="576000"/>
      </dsp:txXfrm>
    </dsp:sp>
    <dsp:sp modelId="{DDE95FD3-4363-4751-9E28-48C781FC2DB1}">
      <dsp:nvSpPr>
        <dsp:cNvPr id="0" name=""/>
        <dsp:cNvSpPr/>
      </dsp:nvSpPr>
      <dsp:spPr>
        <a:xfrm>
          <a:off x="2806452" y="583810"/>
          <a:ext cx="2459588" cy="8784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kern="1200" dirty="0" smtClean="0"/>
            <a:t>9,49 </a:t>
          </a:r>
          <a:r>
            <a:rPr lang="ru-RU" sz="2000" kern="1200" dirty="0" err="1" smtClean="0"/>
            <a:t>руб</a:t>
          </a:r>
          <a:r>
            <a:rPr lang="ru-RU" sz="2000" kern="1200" dirty="0" smtClean="0"/>
            <a:t>/м</a:t>
          </a:r>
          <a:r>
            <a:rPr lang="ru-RU" sz="2000" kern="1200" baseline="30000" dirty="0" smtClean="0"/>
            <a:t>3</a:t>
          </a:r>
          <a:endParaRPr lang="ru-RU" sz="2000" kern="1200" baseline="30000" dirty="0"/>
        </a:p>
      </dsp:txBody>
      <dsp:txXfrm>
        <a:off x="2806452" y="583810"/>
        <a:ext cx="2459588" cy="878400"/>
      </dsp:txXfrm>
    </dsp:sp>
    <dsp:sp modelId="{32610A2A-5AAB-4840-AD30-6915D974883E}">
      <dsp:nvSpPr>
        <dsp:cNvPr id="0" name=""/>
        <dsp:cNvSpPr/>
      </dsp:nvSpPr>
      <dsp:spPr>
        <a:xfrm>
          <a:off x="5610383" y="7809"/>
          <a:ext cx="2459588" cy="576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Техническая вода</a:t>
          </a:r>
          <a:endParaRPr lang="ru-RU" sz="2000" b="1" kern="1200" dirty="0"/>
        </a:p>
      </dsp:txBody>
      <dsp:txXfrm>
        <a:off x="5610383" y="7809"/>
        <a:ext cx="2459588" cy="576000"/>
      </dsp:txXfrm>
    </dsp:sp>
    <dsp:sp modelId="{5E8F9863-E6E9-48EC-ACBD-6FDC461966FA}">
      <dsp:nvSpPr>
        <dsp:cNvPr id="0" name=""/>
        <dsp:cNvSpPr/>
      </dsp:nvSpPr>
      <dsp:spPr>
        <a:xfrm>
          <a:off x="5610383" y="583810"/>
          <a:ext cx="2459588" cy="8784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kern="1200" dirty="0" smtClean="0"/>
            <a:t>7,86 </a:t>
          </a:r>
          <a:r>
            <a:rPr lang="ru-RU" sz="2000" kern="1200" dirty="0" err="1" smtClean="0"/>
            <a:t>руб</a:t>
          </a:r>
          <a:r>
            <a:rPr lang="ru-RU" sz="2000" kern="1200" dirty="0" smtClean="0"/>
            <a:t>/м</a:t>
          </a:r>
          <a:r>
            <a:rPr lang="ru-RU" sz="2000" kern="1200" baseline="30000" dirty="0" smtClean="0"/>
            <a:t>3</a:t>
          </a:r>
          <a:endParaRPr lang="ru-RU" sz="2000" kern="1200" baseline="30000" dirty="0"/>
        </a:p>
      </dsp:txBody>
      <dsp:txXfrm>
        <a:off x="5610383" y="583810"/>
        <a:ext cx="2459588" cy="8784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7672BE-239F-427F-84BD-71487B3A9D27}" type="datetimeFigureOut">
              <a:rPr lang="ru-RU" smtClean="0"/>
              <a:pPr/>
              <a:t>10.10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2B500F-5A94-4811-8828-78F705B4741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06415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39775" y="320675"/>
            <a:ext cx="5381625" cy="403701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6121277" y="8795964"/>
            <a:ext cx="542939" cy="170107"/>
          </a:xfrm>
        </p:spPr>
        <p:txBody>
          <a:bodyPr/>
          <a:lstStyle/>
          <a:p>
            <a:pPr defTabSz="909678"/>
            <a:fld id="{306D979E-F927-4493-82A6-31FC406851E9}" type="slidenum">
              <a:rPr lang="ru-RU">
                <a:solidFill>
                  <a:prstClr val="black"/>
                </a:solidFill>
                <a:latin typeface="Calibri"/>
              </a:rPr>
              <a:pPr defTabSz="909678"/>
              <a:t>1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5E9C2-B185-4B65-AAFC-8ACA2F1F9152}" type="datetimeFigureOut">
              <a:rPr lang="ru-RU" smtClean="0"/>
              <a:pPr/>
              <a:t>10.10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46DE74-8FD3-49FD-A4C9-B79BE459BF9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5E9C2-B185-4B65-AAFC-8ACA2F1F9152}" type="datetimeFigureOut">
              <a:rPr lang="ru-RU" smtClean="0"/>
              <a:pPr/>
              <a:t>10.10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46DE74-8FD3-49FD-A4C9-B79BE459BF9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5E9C2-B185-4B65-AAFC-8ACA2F1F9152}" type="datetimeFigureOut">
              <a:rPr lang="ru-RU" smtClean="0"/>
              <a:pPr/>
              <a:t>10.10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46DE74-8FD3-49FD-A4C9-B79BE459BF9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logo2" hidden="1"/>
          <p:cNvGrpSpPr/>
          <p:nvPr userDrawn="1"/>
        </p:nvGrpSpPr>
        <p:grpSpPr>
          <a:xfrm>
            <a:off x="3794963" y="907209"/>
            <a:ext cx="5349046" cy="5950800"/>
            <a:chOff x="4111200" y="907200"/>
            <a:chExt cx="5794800" cy="5950800"/>
          </a:xfrm>
        </p:grpSpPr>
        <p:pic>
          <p:nvPicPr>
            <p:cNvPr id="21" name="Рисунок 20" descr="ARMZ_txt_en.jpg" hidden="1"/>
            <p:cNvPicPr>
              <a:picLocks noChangeAspect="1"/>
            </p:cNvPicPr>
            <p:nvPr userDrawn="1"/>
          </p:nvPicPr>
          <p:blipFill>
            <a:blip r:embed="rId2" cstate="print"/>
            <a:srcRect b="1104"/>
            <a:stretch>
              <a:fillRect/>
            </a:stretch>
          </p:blipFill>
          <p:spPr>
            <a:xfrm>
              <a:off x="5037753" y="5810400"/>
              <a:ext cx="4868247" cy="1047600"/>
            </a:xfrm>
            <a:prstGeom prst="rect">
              <a:avLst/>
            </a:prstGeom>
          </p:spPr>
        </p:pic>
        <p:pic>
          <p:nvPicPr>
            <p:cNvPr id="22" name="Рисунок 21" descr="ARMZ_logo_en.png" hidden="1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4111200" y="907200"/>
              <a:ext cx="1348041" cy="1918800"/>
            </a:xfrm>
            <a:prstGeom prst="rect">
              <a:avLst/>
            </a:prstGeom>
          </p:spPr>
        </p:pic>
      </p:grpSp>
      <p:sp>
        <p:nvSpPr>
          <p:cNvPr id="2" name="Заголовок 1"/>
          <p:cNvSpPr>
            <a:spLocks noGrp="1"/>
          </p:cNvSpPr>
          <p:nvPr userDrawn="1">
            <p:ph type="ctrTitle"/>
          </p:nvPr>
        </p:nvSpPr>
        <p:spPr>
          <a:xfrm>
            <a:off x="182777" y="3578401"/>
            <a:ext cx="8779569" cy="1494000"/>
          </a:xfrm>
        </p:spPr>
        <p:txBody>
          <a:bodyPr lIns="85837" rIns="85837" anchor="t" anchorCtr="0">
            <a:normAutofit/>
          </a:bodyPr>
          <a:lstStyle>
            <a:lvl1pPr algn="ctr">
              <a:defRPr sz="2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 userDrawn="1">
            <p:ph type="subTitle" idx="1"/>
          </p:nvPr>
        </p:nvSpPr>
        <p:spPr>
          <a:xfrm>
            <a:off x="182769" y="5587201"/>
            <a:ext cx="4293415" cy="370800"/>
          </a:xfrm>
        </p:spPr>
        <p:txBody>
          <a:bodyPr lIns="0" tIns="0" rIns="0" bIns="0" anchor="b" anchorCtr="0">
            <a:normAutofit/>
          </a:bodyPr>
          <a:lstStyle>
            <a:lvl1pPr marL="0" indent="0" algn="l">
              <a:buNone/>
              <a:defRPr sz="1900">
                <a:solidFill>
                  <a:schemeClr val="tx1"/>
                </a:solidFill>
                <a:latin typeface="+mj-lt"/>
              </a:defRPr>
            </a:lvl1pPr>
            <a:lvl2pPr marL="4360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72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08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80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163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052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4884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9" name="Текст 8"/>
          <p:cNvSpPr>
            <a:spLocks noGrp="1"/>
          </p:cNvSpPr>
          <p:nvPr userDrawn="1">
            <p:ph type="body" sz="quarter" idx="13"/>
          </p:nvPr>
        </p:nvSpPr>
        <p:spPr>
          <a:xfrm>
            <a:off x="182769" y="6022800"/>
            <a:ext cx="4293415" cy="216000"/>
          </a:xfrm>
        </p:spPr>
        <p:txBody>
          <a:bodyPr lIns="0" tIns="0" rIns="0" bIns="0"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 userDrawn="1">
            <p:ph type="body" sz="quarter" idx="14"/>
          </p:nvPr>
        </p:nvSpPr>
        <p:spPr>
          <a:xfrm>
            <a:off x="1143147" y="6447600"/>
            <a:ext cx="3333046" cy="216000"/>
          </a:xfrm>
        </p:spPr>
        <p:txBody>
          <a:bodyPr lIns="0" tIns="0" rIns="0" bIns="0"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3" name="Дата 21"/>
          <p:cNvSpPr>
            <a:spLocks noGrp="1"/>
          </p:cNvSpPr>
          <p:nvPr userDrawn="1">
            <p:ph type="dt" sz="half" idx="2"/>
          </p:nvPr>
        </p:nvSpPr>
        <p:spPr>
          <a:xfrm>
            <a:off x="182778" y="6356350"/>
            <a:ext cx="893908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72100" rtl="0">
              <a:defRPr sz="1100">
                <a:solidFill>
                  <a:schemeClr val="tx1"/>
                </a:solidFill>
                <a:latin typeface="+mj-lt"/>
              </a:defRPr>
            </a:lvl1pPr>
          </a:lstStyle>
          <a:p>
            <a:endParaRPr lang="ru-RU" dirty="0">
              <a:solidFill>
                <a:srgbClr val="605D5C"/>
              </a:soli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872100" rtl="0">
              <a:defRPr/>
            </a:lvl1pPr>
          </a:lstStyle>
          <a:p>
            <a:fld id="{0649A0BD-6450-4A37-A415-C9BD94F79D05}" type="slidenum">
              <a:rPr lang="ru-RU" smtClean="0">
                <a:solidFill>
                  <a:srgbClr val="605D5C"/>
                </a:solidFill>
                <a:latin typeface="Verdana"/>
              </a:rPr>
              <a:pPr/>
              <a:t>‹#›</a:t>
            </a:fld>
            <a:endParaRPr lang="ru-RU" dirty="0">
              <a:solidFill>
                <a:srgbClr val="605D5C"/>
              </a:solidFill>
              <a:latin typeface="Verdana"/>
            </a:endParaRP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850707" y="1422000"/>
            <a:ext cx="1801108" cy="29196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/>
          <a:lstStyle/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/>
          </p:nvPr>
        </p:nvSpPr>
        <p:spPr>
          <a:xfrm>
            <a:off x="2658470" y="1396800"/>
            <a:ext cx="6303877" cy="2970000"/>
          </a:xfrm>
        </p:spPr>
        <p:txBody>
          <a:bodyPr lIns="0" tIns="171673" rIns="0" bIns="0"/>
          <a:lstStyle>
            <a:lvl1pPr marL="602597" indent="0" algn="l">
              <a:buFontTx/>
              <a:buNone/>
              <a:defRPr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/>
          </p:nvPr>
        </p:nvSpPr>
        <p:spPr>
          <a:xfrm>
            <a:off x="850709" y="4737609"/>
            <a:ext cx="8108308" cy="1353600"/>
          </a:xfrm>
        </p:spPr>
        <p:txBody>
          <a:bodyPr lIns="0" rIns="0"/>
          <a:lstStyle>
            <a:lvl1pPr>
              <a:buFontTx/>
              <a:buNone/>
              <a:defRPr>
                <a:solidFill>
                  <a:schemeClr val="accent6"/>
                </a:solidFill>
              </a:defRPr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5E9C2-B185-4B65-AAFC-8ACA2F1F9152}" type="datetimeFigureOut">
              <a:rPr lang="ru-RU" smtClean="0"/>
              <a:pPr/>
              <a:t>10.10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46DE74-8FD3-49FD-A4C9-B79BE459BF9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5E9C2-B185-4B65-AAFC-8ACA2F1F9152}" type="datetimeFigureOut">
              <a:rPr lang="ru-RU" smtClean="0"/>
              <a:pPr/>
              <a:t>10.10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46DE74-8FD3-49FD-A4C9-B79BE459BF9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5E9C2-B185-4B65-AAFC-8ACA2F1F9152}" type="datetimeFigureOut">
              <a:rPr lang="ru-RU" smtClean="0"/>
              <a:pPr/>
              <a:t>10.10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46DE74-8FD3-49FD-A4C9-B79BE459BF9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5E9C2-B185-4B65-AAFC-8ACA2F1F9152}" type="datetimeFigureOut">
              <a:rPr lang="ru-RU" smtClean="0"/>
              <a:pPr/>
              <a:t>10.10.201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46DE74-8FD3-49FD-A4C9-B79BE459BF9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5E9C2-B185-4B65-AAFC-8ACA2F1F9152}" type="datetimeFigureOut">
              <a:rPr lang="ru-RU" smtClean="0"/>
              <a:pPr/>
              <a:t>10.10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46DE74-8FD3-49FD-A4C9-B79BE459BF9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5E9C2-B185-4B65-AAFC-8ACA2F1F9152}" type="datetimeFigureOut">
              <a:rPr lang="ru-RU" smtClean="0"/>
              <a:pPr/>
              <a:t>10.10.201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46DE74-8FD3-49FD-A4C9-B79BE459BF9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5E9C2-B185-4B65-AAFC-8ACA2F1F9152}" type="datetimeFigureOut">
              <a:rPr lang="ru-RU" smtClean="0"/>
              <a:pPr/>
              <a:t>10.10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46DE74-8FD3-49FD-A4C9-B79BE459BF9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5E9C2-B185-4B65-AAFC-8ACA2F1F9152}" type="datetimeFigureOut">
              <a:rPr lang="ru-RU" smtClean="0"/>
              <a:pPr/>
              <a:t>10.10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46DE74-8FD3-49FD-A4C9-B79BE459BF9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E5E9C2-B185-4B65-AAFC-8ACA2F1F9152}" type="datetimeFigureOut">
              <a:rPr lang="ru-RU" smtClean="0"/>
              <a:pPr/>
              <a:t>10.10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46DE74-8FD3-49FD-A4C9-B79BE459BF9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13" Type="http://schemas.openxmlformats.org/officeDocument/2006/relationships/image" Target="../media/image18.emf"/><Relationship Id="rId3" Type="http://schemas.openxmlformats.org/officeDocument/2006/relationships/image" Target="../media/image8.emf"/><Relationship Id="rId7" Type="http://schemas.openxmlformats.org/officeDocument/2006/relationships/image" Target="../media/image12.emf"/><Relationship Id="rId12" Type="http://schemas.openxmlformats.org/officeDocument/2006/relationships/image" Target="../media/image17.emf"/><Relationship Id="rId2" Type="http://schemas.openxmlformats.org/officeDocument/2006/relationships/image" Target="../media/image7.png"/><Relationship Id="rId16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emf"/><Relationship Id="rId11" Type="http://schemas.openxmlformats.org/officeDocument/2006/relationships/image" Target="../media/image16.emf"/><Relationship Id="rId5" Type="http://schemas.openxmlformats.org/officeDocument/2006/relationships/image" Target="../media/image10.emf"/><Relationship Id="rId15" Type="http://schemas.openxmlformats.org/officeDocument/2006/relationships/image" Target="../media/image20.jpeg"/><Relationship Id="rId10" Type="http://schemas.openxmlformats.org/officeDocument/2006/relationships/image" Target="../media/image15.emf"/><Relationship Id="rId4" Type="http://schemas.openxmlformats.org/officeDocument/2006/relationships/image" Target="../media/image9.emf"/><Relationship Id="rId9" Type="http://schemas.openxmlformats.org/officeDocument/2006/relationships/image" Target="../media/image14.emf"/><Relationship Id="rId14" Type="http://schemas.openxmlformats.org/officeDocument/2006/relationships/image" Target="../media/image19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24.gi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3.jpe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8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slideLayout" Target="../slideLayouts/slideLayout13.xml"/><Relationship Id="rId7" Type="http://schemas.openxmlformats.org/officeDocument/2006/relationships/hyperlink" Target="http://images.yandex.ru/yandsearch?source=wiz&amp;img_url=http://data.photo.sibnet.ru/upload/imgbig/126483132609.jpg&amp;text=%D0%BA%D1%80%D0%B0%D1%81%D0%BD%D0%BE%D0%BA%D0%B0%D0%BC%D0%B5%D0%BD%D1%81%D0%BA%20%D1%84%D0%BE%D1%82%D0%BE&amp;noreask=1&amp;pos=1&amp;lr=213&amp;rpt=simage&amp;family=yes&amp;nojs=1" TargetMode="Externa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9.jpe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31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mailto:kazakov.k.s@vnipipt.ru" TargetMode="External"/><Relationship Id="rId3" Type="http://schemas.openxmlformats.org/officeDocument/2006/relationships/slideLayout" Target="../slideLayouts/slideLayout13.xml"/><Relationship Id="rId7" Type="http://schemas.openxmlformats.org/officeDocument/2006/relationships/hyperlink" Target="mailto:mineconom@economy.e-zab.ru" TargetMode="Externa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32.gi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8"/>
          <p:cNvSpPr>
            <a:spLocks noGrp="1"/>
          </p:cNvSpPr>
          <p:nvPr>
            <p:ph type="ctrTitle"/>
          </p:nvPr>
        </p:nvSpPr>
        <p:spPr>
          <a:xfrm>
            <a:off x="217265" y="1926129"/>
            <a:ext cx="8595612" cy="1788137"/>
          </a:xfrm>
        </p:spPr>
        <p:txBody>
          <a:bodyPr anchor="ctr">
            <a:noAutofit/>
          </a:bodyPr>
          <a:lstStyle/>
          <a:p>
            <a:pPr>
              <a:spcBef>
                <a:spcPts val="1224"/>
              </a:spcBef>
            </a:pPr>
            <a:r>
              <a:rPr lang="ru-RU" sz="2400" b="1" dirty="0" smtClean="0">
                <a:solidFill>
                  <a:srgbClr val="003F74"/>
                </a:solidFill>
                <a:latin typeface="Arial" pitchFamily="34" charset="0"/>
                <a:cs typeface="Arial" pitchFamily="34" charset="0"/>
              </a:rPr>
              <a:t>Территория </a:t>
            </a:r>
            <a:br>
              <a:rPr lang="ru-RU" sz="2400" b="1" dirty="0" smtClean="0">
                <a:solidFill>
                  <a:srgbClr val="003F74"/>
                </a:solidFill>
                <a:latin typeface="Arial" pitchFamily="34" charset="0"/>
                <a:cs typeface="Arial" pitchFamily="34" charset="0"/>
              </a:rPr>
            </a:br>
            <a:r>
              <a:rPr lang="ru-RU" sz="2400" b="1" dirty="0" smtClean="0">
                <a:solidFill>
                  <a:srgbClr val="003F74"/>
                </a:solidFill>
                <a:latin typeface="Arial" pitchFamily="34" charset="0"/>
                <a:cs typeface="Arial" pitchFamily="34" charset="0"/>
              </a:rPr>
              <a:t>опережающего социально-экономического развития «</a:t>
            </a:r>
            <a:r>
              <a:rPr lang="ru-RU" sz="2400" b="1" dirty="0" err="1" smtClean="0">
                <a:solidFill>
                  <a:srgbClr val="003F74"/>
                </a:solidFill>
                <a:latin typeface="Arial" pitchFamily="34" charset="0"/>
                <a:cs typeface="Arial" pitchFamily="34" charset="0"/>
              </a:rPr>
              <a:t>Краснокаменск</a:t>
            </a:r>
            <a:r>
              <a:rPr lang="ru-RU" sz="2400" b="1" dirty="0" smtClean="0">
                <a:solidFill>
                  <a:srgbClr val="003F74"/>
                </a:solidFill>
                <a:latin typeface="Arial" pitchFamily="34" charset="0"/>
                <a:cs typeface="Arial" pitchFamily="34" charset="0"/>
              </a:rPr>
              <a:t>»</a:t>
            </a:r>
            <a:br>
              <a:rPr lang="ru-RU" sz="2400" b="1" dirty="0" smtClean="0">
                <a:solidFill>
                  <a:srgbClr val="003F74"/>
                </a:solidFill>
                <a:latin typeface="Arial" pitchFamily="34" charset="0"/>
                <a:cs typeface="Arial" pitchFamily="34" charset="0"/>
              </a:rPr>
            </a:br>
            <a:r>
              <a:rPr lang="ru-RU" sz="2400" b="1" dirty="0" smtClean="0">
                <a:solidFill>
                  <a:srgbClr val="003F74"/>
                </a:solidFill>
                <a:latin typeface="Arial" pitchFamily="34" charset="0"/>
                <a:cs typeface="Arial" pitchFamily="34" charset="0"/>
              </a:rPr>
              <a:t>(Забайкальский край)</a:t>
            </a:r>
            <a:r>
              <a:rPr lang="ru-RU" sz="2400" dirty="0">
                <a:solidFill>
                  <a:srgbClr val="003F74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2400" dirty="0">
                <a:solidFill>
                  <a:srgbClr val="003F74"/>
                </a:solidFill>
                <a:latin typeface="Arial" pitchFamily="34" charset="0"/>
                <a:cs typeface="Arial" pitchFamily="34" charset="0"/>
              </a:rPr>
            </a:br>
            <a:r>
              <a:rPr lang="ru-RU" sz="1100" dirty="0">
                <a:solidFill>
                  <a:srgbClr val="003F7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400" dirty="0">
                <a:solidFill>
                  <a:srgbClr val="003F74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2400" dirty="0">
                <a:solidFill>
                  <a:srgbClr val="003F74"/>
                </a:solidFill>
                <a:latin typeface="Arial" pitchFamily="34" charset="0"/>
                <a:cs typeface="Arial" pitchFamily="34" charset="0"/>
              </a:rPr>
            </a:br>
            <a:r>
              <a:rPr lang="ru-RU" sz="2000" i="1" dirty="0" smtClean="0">
                <a:solidFill>
                  <a:srgbClr val="003F74"/>
                </a:solidFill>
                <a:latin typeface="Arial" pitchFamily="34" charset="0"/>
                <a:cs typeface="Arial" pitchFamily="34" charset="0"/>
              </a:rPr>
              <a:t>Информация для инвесторов</a:t>
            </a:r>
            <a:endParaRPr lang="ru-RU" sz="2000" i="1" dirty="0">
              <a:solidFill>
                <a:srgbClr val="003F74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740099" name="Picture 3" descr="C:\Users\borodich.e.v\Desktop\Краснокаменск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738" y="3899127"/>
            <a:ext cx="8036365" cy="225193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http://0.avatars.yandex.net/get-entity_search/aHR0cDovL3VwbG9hZC53aWtpbWVkaWEub3JnL3dpa2lwZWRpYS9jb21tb25zLzcvNzMvQ2hpdGFfT2JsYXN0X2NvYXRfb2ZfYXJtcy5qcGc-/S120xU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29851" y="455677"/>
            <a:ext cx="1078882" cy="1285593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b="1" dirty="0">
                <a:latin typeface="Arial" pitchFamily="34" charset="0"/>
                <a:cs typeface="Arial" pitchFamily="34" charset="0"/>
              </a:rPr>
              <a:t>Создание территории опережающего социально-экономического развития «Краснокаменск»</a:t>
            </a:r>
            <a:endParaRPr lang="ru-RU" b="1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7921773" y="6519172"/>
            <a:ext cx="947613" cy="2915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ru-RU"/>
          </a:p>
        </p:txBody>
      </p:sp>
      <p:sp>
        <p:nvSpPr>
          <p:cNvPr id="16" name="TextBox 15"/>
          <p:cNvSpPr txBox="1"/>
          <p:nvPr/>
        </p:nvSpPr>
        <p:spPr>
          <a:xfrm>
            <a:off x="8774610" y="6519173"/>
            <a:ext cx="291573" cy="314028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400" dirty="0">
                <a:solidFill>
                  <a:schemeClr val="accent6">
                    <a:lumMod val="50000"/>
                  </a:schemeClr>
                </a:solidFill>
              </a:rPr>
              <a:t>2</a:t>
            </a:r>
          </a:p>
        </p:txBody>
      </p:sp>
      <p:sp>
        <p:nvSpPr>
          <p:cNvPr id="66" name="Равнобедренный треугольник 65"/>
          <p:cNvSpPr/>
          <p:nvPr/>
        </p:nvSpPr>
        <p:spPr>
          <a:xfrm rot="5400000">
            <a:off x="3015490" y="3701224"/>
            <a:ext cx="2203873" cy="183667"/>
          </a:xfrm>
          <a:prstGeom prst="triangle">
            <a:avLst/>
          </a:prstGeom>
          <a:ln w="19050">
            <a:solidFill>
              <a:schemeClr val="tx1">
                <a:lumMod val="50000"/>
              </a:schemeClr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93296" tIns="46648" rIns="93296" bIns="46648" rtlCol="0" anchor="ctr"/>
          <a:lstStyle/>
          <a:p>
            <a:pPr algn="ctr"/>
            <a:endParaRPr lang="ru-RU"/>
          </a:p>
        </p:txBody>
      </p:sp>
      <p:grpSp>
        <p:nvGrpSpPr>
          <p:cNvPr id="3" name="Группа 2"/>
          <p:cNvGrpSpPr/>
          <p:nvPr/>
        </p:nvGrpSpPr>
        <p:grpSpPr>
          <a:xfrm>
            <a:off x="4545152" y="1600395"/>
            <a:ext cx="4295723" cy="4385326"/>
            <a:chOff x="4488871" y="1328889"/>
            <a:chExt cx="4209958" cy="4298026"/>
          </a:xfrm>
        </p:grpSpPr>
        <p:pic>
          <p:nvPicPr>
            <p:cNvPr id="59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13850" y="3567715"/>
              <a:ext cx="3960000" cy="20592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7" name="TextBox 66"/>
            <p:cNvSpPr txBox="1"/>
            <p:nvPr/>
          </p:nvSpPr>
          <p:spPr>
            <a:xfrm>
              <a:off x="4488871" y="1328889"/>
              <a:ext cx="4209958" cy="1815815"/>
            </a:xfrm>
            <a:prstGeom prst="rect">
              <a:avLst/>
            </a:prstGeom>
            <a:noFill/>
          </p:spPr>
          <p:txBody>
            <a:bodyPr wrap="square" lIns="91371" tIns="45687" rIns="91371" bIns="45687" rtlCol="0">
              <a:spAutoFit/>
            </a:bodyPr>
            <a:lstStyle/>
            <a:p>
              <a:pPr marL="291551" indent="-291551">
                <a:buFont typeface="Arial" panose="020B0604020202020204" pitchFamily="34" charset="0"/>
                <a:buChar char="•"/>
              </a:pPr>
              <a:r>
                <a:rPr lang="ru-RU" sz="1600" dirty="0">
                  <a:solidFill>
                    <a:srgbClr val="00559B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Постановлением Правительства РФ   от 16 июля 2016 г. № 675 создана </a:t>
              </a:r>
              <a:r>
                <a:rPr lang="ru-RU" sz="1600" b="1" dirty="0">
                  <a:solidFill>
                    <a:srgbClr val="00559B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территория опережающего социально-экономического развития «Краснокаменск» </a:t>
              </a:r>
              <a:r>
                <a:rPr lang="ru-RU" sz="1600" dirty="0">
                  <a:solidFill>
                    <a:srgbClr val="00559B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(в границах городского поселения «Город Краснокаменск» в Забайкальском крае) </a:t>
              </a:r>
            </a:p>
          </p:txBody>
        </p:sp>
      </p:grpSp>
      <p:grpSp>
        <p:nvGrpSpPr>
          <p:cNvPr id="4" name="Группа 55"/>
          <p:cNvGrpSpPr/>
          <p:nvPr/>
        </p:nvGrpSpPr>
        <p:grpSpPr>
          <a:xfrm>
            <a:off x="370059" y="1434626"/>
            <a:ext cx="3319643" cy="4716863"/>
            <a:chOff x="386916" y="1875518"/>
            <a:chExt cx="2783572" cy="3704775"/>
          </a:xfrm>
        </p:grpSpPr>
        <p:pic>
          <p:nvPicPr>
            <p:cNvPr id="63" name="Picture 28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841" t="11993" r="33810" b="12662"/>
            <a:stretch/>
          </p:blipFill>
          <p:spPr bwMode="auto">
            <a:xfrm>
              <a:off x="386916" y="1875518"/>
              <a:ext cx="2662922" cy="3600000"/>
            </a:xfrm>
            <a:prstGeom prst="rect">
              <a:avLst/>
            </a:prstGeom>
            <a:noFill/>
            <a:ln w="9525">
              <a:solidFill>
                <a:schemeClr val="bg2">
                  <a:lumMod val="85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64" name="Picture 28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841" t="11993" r="33810" b="12662"/>
            <a:stretch/>
          </p:blipFill>
          <p:spPr bwMode="auto">
            <a:xfrm>
              <a:off x="444066" y="1923143"/>
              <a:ext cx="2662922" cy="3600000"/>
            </a:xfrm>
            <a:prstGeom prst="rect">
              <a:avLst/>
            </a:prstGeom>
            <a:noFill/>
            <a:ln w="9525">
              <a:solidFill>
                <a:schemeClr val="bg2">
                  <a:lumMod val="85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65" name="Picture 28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841" t="11993" r="33810" b="12662"/>
            <a:stretch/>
          </p:blipFill>
          <p:spPr bwMode="auto">
            <a:xfrm>
              <a:off x="507566" y="1980293"/>
              <a:ext cx="2662922" cy="3600000"/>
            </a:xfrm>
            <a:prstGeom prst="rect">
              <a:avLst/>
            </a:prstGeom>
            <a:noFill/>
            <a:ln w="9525">
              <a:solidFill>
                <a:schemeClr val="bg2">
                  <a:lumMod val="85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5504944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b="1" dirty="0">
                <a:latin typeface="Arial" pitchFamily="34" charset="0"/>
                <a:cs typeface="Arial" pitchFamily="34" charset="0"/>
              </a:rPr>
              <a:t>Что такое Краснокаменск?</a:t>
            </a:r>
            <a:endParaRPr lang="ru-RU" b="1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7921773" y="6519172"/>
            <a:ext cx="947613" cy="2915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ru-RU"/>
          </a:p>
        </p:txBody>
      </p:sp>
      <p:sp>
        <p:nvSpPr>
          <p:cNvPr id="16" name="TextBox 15"/>
          <p:cNvSpPr txBox="1"/>
          <p:nvPr/>
        </p:nvSpPr>
        <p:spPr>
          <a:xfrm>
            <a:off x="8774610" y="6519173"/>
            <a:ext cx="291573" cy="314028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400" dirty="0">
                <a:solidFill>
                  <a:schemeClr val="accent6">
                    <a:lumMod val="50000"/>
                  </a:schemeClr>
                </a:solidFill>
              </a:rPr>
              <a:t>3</a:t>
            </a:r>
          </a:p>
        </p:txBody>
      </p:sp>
      <p:grpSp>
        <p:nvGrpSpPr>
          <p:cNvPr id="3" name="Группа 10"/>
          <p:cNvGrpSpPr>
            <a:grpSpLocks noChangeAspect="1"/>
          </p:cNvGrpSpPr>
          <p:nvPr/>
        </p:nvGrpSpPr>
        <p:grpSpPr>
          <a:xfrm>
            <a:off x="297634" y="1385445"/>
            <a:ext cx="3633477" cy="4789214"/>
            <a:chOff x="382025" y="1195991"/>
            <a:chExt cx="2863928" cy="3775109"/>
          </a:xfrm>
        </p:grpSpPr>
        <p:pic>
          <p:nvPicPr>
            <p:cNvPr id="12" name="Picture 5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82025" y="1195991"/>
              <a:ext cx="2838612" cy="36431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1448483" y="3575037"/>
              <a:ext cx="140823" cy="132508"/>
            </a:xfrm>
            <a:custGeom>
              <a:avLst/>
              <a:gdLst/>
              <a:ahLst/>
              <a:cxnLst>
                <a:cxn ang="0">
                  <a:pos x="0" y="120"/>
                </a:cxn>
                <a:cxn ang="0">
                  <a:pos x="136" y="0"/>
                </a:cxn>
                <a:cxn ang="0">
                  <a:pos x="136" y="0"/>
                </a:cxn>
                <a:cxn ang="0">
                  <a:pos x="136" y="0"/>
                </a:cxn>
                <a:cxn ang="0">
                  <a:pos x="272" y="120"/>
                </a:cxn>
                <a:cxn ang="0">
                  <a:pos x="272" y="120"/>
                </a:cxn>
                <a:cxn ang="0">
                  <a:pos x="272" y="120"/>
                </a:cxn>
                <a:cxn ang="0">
                  <a:pos x="136" y="240"/>
                </a:cxn>
                <a:cxn ang="0">
                  <a:pos x="136" y="240"/>
                </a:cxn>
                <a:cxn ang="0">
                  <a:pos x="136" y="240"/>
                </a:cxn>
                <a:cxn ang="0">
                  <a:pos x="0" y="120"/>
                </a:cxn>
                <a:cxn ang="0">
                  <a:pos x="0" y="120"/>
                </a:cxn>
              </a:cxnLst>
              <a:rect l="0" t="0" r="r" b="b"/>
              <a:pathLst>
                <a:path w="272" h="240">
                  <a:moveTo>
                    <a:pt x="0" y="120"/>
                  </a:moveTo>
                  <a:cubicBezTo>
                    <a:pt x="0" y="54"/>
                    <a:pt x="61" y="0"/>
                    <a:pt x="136" y="0"/>
                  </a:cubicBezTo>
                  <a:cubicBezTo>
                    <a:pt x="136" y="0"/>
                    <a:pt x="136" y="0"/>
                    <a:pt x="136" y="0"/>
                  </a:cubicBezTo>
                  <a:lnTo>
                    <a:pt x="136" y="0"/>
                  </a:lnTo>
                  <a:cubicBezTo>
                    <a:pt x="212" y="0"/>
                    <a:pt x="272" y="54"/>
                    <a:pt x="272" y="120"/>
                  </a:cubicBezTo>
                  <a:cubicBezTo>
                    <a:pt x="272" y="120"/>
                    <a:pt x="272" y="120"/>
                    <a:pt x="272" y="120"/>
                  </a:cubicBezTo>
                  <a:lnTo>
                    <a:pt x="272" y="120"/>
                  </a:lnTo>
                  <a:cubicBezTo>
                    <a:pt x="272" y="187"/>
                    <a:pt x="212" y="240"/>
                    <a:pt x="136" y="240"/>
                  </a:cubicBezTo>
                  <a:cubicBezTo>
                    <a:pt x="136" y="240"/>
                    <a:pt x="136" y="240"/>
                    <a:pt x="136" y="240"/>
                  </a:cubicBezTo>
                  <a:lnTo>
                    <a:pt x="136" y="240"/>
                  </a:lnTo>
                  <a:cubicBezTo>
                    <a:pt x="61" y="240"/>
                    <a:pt x="0" y="187"/>
                    <a:pt x="0" y="120"/>
                  </a:cubicBezTo>
                  <a:cubicBezTo>
                    <a:pt x="0" y="120"/>
                    <a:pt x="0" y="120"/>
                    <a:pt x="0" y="120"/>
                  </a:cubicBezTo>
                  <a:close/>
                </a:path>
              </a:pathLst>
            </a:custGeom>
            <a:solidFill>
              <a:srgbClr val="116FA1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" name="Freeform 7"/>
            <p:cNvSpPr>
              <a:spLocks noEditPoints="1"/>
            </p:cNvSpPr>
            <p:nvPr/>
          </p:nvSpPr>
          <p:spPr bwMode="auto">
            <a:xfrm>
              <a:off x="1435824" y="3562852"/>
              <a:ext cx="166139" cy="158400"/>
            </a:xfrm>
            <a:custGeom>
              <a:avLst/>
              <a:gdLst/>
              <a:ahLst/>
              <a:cxnLst>
                <a:cxn ang="0">
                  <a:pos x="1" y="139"/>
                </a:cxn>
                <a:cxn ang="0">
                  <a:pos x="16" y="83"/>
                </a:cxn>
                <a:cxn ang="0">
                  <a:pos x="52" y="39"/>
                </a:cxn>
                <a:cxn ang="0">
                  <a:pos x="103" y="10"/>
                </a:cxn>
                <a:cxn ang="0">
                  <a:pos x="164" y="1"/>
                </a:cxn>
                <a:cxn ang="0">
                  <a:pos x="226" y="13"/>
                </a:cxn>
                <a:cxn ang="0">
                  <a:pos x="277" y="45"/>
                </a:cxn>
                <a:cxn ang="0">
                  <a:pos x="309" y="92"/>
                </a:cxn>
                <a:cxn ang="0">
                  <a:pos x="320" y="150"/>
                </a:cxn>
                <a:cxn ang="0">
                  <a:pos x="305" y="206"/>
                </a:cxn>
                <a:cxn ang="0">
                  <a:pos x="270" y="250"/>
                </a:cxn>
                <a:cxn ang="0">
                  <a:pos x="217" y="279"/>
                </a:cxn>
                <a:cxn ang="0">
                  <a:pos x="156" y="288"/>
                </a:cxn>
                <a:cxn ang="0">
                  <a:pos x="95" y="276"/>
                </a:cxn>
                <a:cxn ang="0">
                  <a:pos x="45" y="244"/>
                </a:cxn>
                <a:cxn ang="0">
                  <a:pos x="12" y="197"/>
                </a:cxn>
                <a:cxn ang="0">
                  <a:pos x="59" y="186"/>
                </a:cxn>
                <a:cxn ang="0">
                  <a:pos x="84" y="215"/>
                </a:cxn>
                <a:cxn ang="0">
                  <a:pos x="120" y="235"/>
                </a:cxn>
                <a:cxn ang="0">
                  <a:pos x="164" y="241"/>
                </a:cxn>
                <a:cxn ang="0">
                  <a:pos x="209" y="232"/>
                </a:cxn>
                <a:cxn ang="0">
                  <a:pos x="245" y="209"/>
                </a:cxn>
                <a:cxn ang="0">
                  <a:pos x="266" y="177"/>
                </a:cxn>
                <a:cxn ang="0">
                  <a:pos x="273" y="139"/>
                </a:cxn>
                <a:cxn ang="0">
                  <a:pos x="262" y="103"/>
                </a:cxn>
                <a:cxn ang="0">
                  <a:pos x="238" y="74"/>
                </a:cxn>
                <a:cxn ang="0">
                  <a:pos x="201" y="54"/>
                </a:cxn>
                <a:cxn ang="0">
                  <a:pos x="156" y="48"/>
                </a:cxn>
                <a:cxn ang="0">
                  <a:pos x="111" y="57"/>
                </a:cxn>
                <a:cxn ang="0">
                  <a:pos x="77" y="80"/>
                </a:cxn>
                <a:cxn ang="0">
                  <a:pos x="55" y="112"/>
                </a:cxn>
                <a:cxn ang="0">
                  <a:pos x="48" y="150"/>
                </a:cxn>
                <a:cxn ang="0">
                  <a:pos x="59" y="186"/>
                </a:cxn>
              </a:cxnLst>
              <a:rect l="0" t="0" r="r" b="b"/>
              <a:pathLst>
                <a:path w="321" h="289">
                  <a:moveTo>
                    <a:pt x="1" y="150"/>
                  </a:moveTo>
                  <a:cubicBezTo>
                    <a:pt x="0" y="146"/>
                    <a:pt x="0" y="143"/>
                    <a:pt x="1" y="139"/>
                  </a:cubicBezTo>
                  <a:lnTo>
                    <a:pt x="12" y="92"/>
                  </a:lnTo>
                  <a:cubicBezTo>
                    <a:pt x="13" y="89"/>
                    <a:pt x="14" y="86"/>
                    <a:pt x="16" y="83"/>
                  </a:cubicBezTo>
                  <a:lnTo>
                    <a:pt x="45" y="45"/>
                  </a:lnTo>
                  <a:cubicBezTo>
                    <a:pt x="47" y="43"/>
                    <a:pt x="49" y="40"/>
                    <a:pt x="52" y="39"/>
                  </a:cubicBezTo>
                  <a:lnTo>
                    <a:pt x="95" y="13"/>
                  </a:lnTo>
                  <a:cubicBezTo>
                    <a:pt x="98" y="11"/>
                    <a:pt x="100" y="10"/>
                    <a:pt x="103" y="10"/>
                  </a:cubicBezTo>
                  <a:lnTo>
                    <a:pt x="156" y="1"/>
                  </a:lnTo>
                  <a:cubicBezTo>
                    <a:pt x="159" y="0"/>
                    <a:pt x="162" y="0"/>
                    <a:pt x="164" y="1"/>
                  </a:cubicBezTo>
                  <a:lnTo>
                    <a:pt x="217" y="10"/>
                  </a:lnTo>
                  <a:cubicBezTo>
                    <a:pt x="220" y="10"/>
                    <a:pt x="223" y="11"/>
                    <a:pt x="226" y="13"/>
                  </a:cubicBezTo>
                  <a:lnTo>
                    <a:pt x="270" y="39"/>
                  </a:lnTo>
                  <a:cubicBezTo>
                    <a:pt x="272" y="40"/>
                    <a:pt x="275" y="43"/>
                    <a:pt x="277" y="45"/>
                  </a:cubicBezTo>
                  <a:lnTo>
                    <a:pt x="305" y="83"/>
                  </a:lnTo>
                  <a:cubicBezTo>
                    <a:pt x="307" y="86"/>
                    <a:pt x="308" y="89"/>
                    <a:pt x="309" y="92"/>
                  </a:cubicBezTo>
                  <a:lnTo>
                    <a:pt x="320" y="139"/>
                  </a:lnTo>
                  <a:cubicBezTo>
                    <a:pt x="321" y="143"/>
                    <a:pt x="321" y="146"/>
                    <a:pt x="320" y="150"/>
                  </a:cubicBezTo>
                  <a:lnTo>
                    <a:pt x="309" y="197"/>
                  </a:lnTo>
                  <a:cubicBezTo>
                    <a:pt x="308" y="200"/>
                    <a:pt x="307" y="203"/>
                    <a:pt x="305" y="206"/>
                  </a:cubicBezTo>
                  <a:lnTo>
                    <a:pt x="277" y="244"/>
                  </a:lnTo>
                  <a:cubicBezTo>
                    <a:pt x="275" y="246"/>
                    <a:pt x="272" y="248"/>
                    <a:pt x="270" y="250"/>
                  </a:cubicBezTo>
                  <a:lnTo>
                    <a:pt x="226" y="276"/>
                  </a:lnTo>
                  <a:cubicBezTo>
                    <a:pt x="223" y="278"/>
                    <a:pt x="220" y="279"/>
                    <a:pt x="217" y="279"/>
                  </a:cubicBezTo>
                  <a:lnTo>
                    <a:pt x="164" y="288"/>
                  </a:lnTo>
                  <a:cubicBezTo>
                    <a:pt x="162" y="289"/>
                    <a:pt x="159" y="289"/>
                    <a:pt x="156" y="288"/>
                  </a:cubicBezTo>
                  <a:lnTo>
                    <a:pt x="103" y="279"/>
                  </a:lnTo>
                  <a:cubicBezTo>
                    <a:pt x="100" y="279"/>
                    <a:pt x="98" y="278"/>
                    <a:pt x="95" y="276"/>
                  </a:cubicBezTo>
                  <a:lnTo>
                    <a:pt x="52" y="250"/>
                  </a:lnTo>
                  <a:cubicBezTo>
                    <a:pt x="49" y="248"/>
                    <a:pt x="47" y="246"/>
                    <a:pt x="45" y="244"/>
                  </a:cubicBezTo>
                  <a:lnTo>
                    <a:pt x="16" y="206"/>
                  </a:lnTo>
                  <a:cubicBezTo>
                    <a:pt x="14" y="203"/>
                    <a:pt x="13" y="200"/>
                    <a:pt x="12" y="197"/>
                  </a:cubicBezTo>
                  <a:lnTo>
                    <a:pt x="1" y="150"/>
                  </a:lnTo>
                  <a:close/>
                  <a:moveTo>
                    <a:pt x="59" y="186"/>
                  </a:moveTo>
                  <a:lnTo>
                    <a:pt x="55" y="177"/>
                  </a:lnTo>
                  <a:lnTo>
                    <a:pt x="84" y="215"/>
                  </a:lnTo>
                  <a:lnTo>
                    <a:pt x="77" y="209"/>
                  </a:lnTo>
                  <a:lnTo>
                    <a:pt x="120" y="235"/>
                  </a:lnTo>
                  <a:lnTo>
                    <a:pt x="111" y="232"/>
                  </a:lnTo>
                  <a:lnTo>
                    <a:pt x="164" y="241"/>
                  </a:lnTo>
                  <a:lnTo>
                    <a:pt x="156" y="241"/>
                  </a:lnTo>
                  <a:lnTo>
                    <a:pt x="209" y="232"/>
                  </a:lnTo>
                  <a:lnTo>
                    <a:pt x="201" y="235"/>
                  </a:lnTo>
                  <a:lnTo>
                    <a:pt x="245" y="209"/>
                  </a:lnTo>
                  <a:lnTo>
                    <a:pt x="238" y="215"/>
                  </a:lnTo>
                  <a:lnTo>
                    <a:pt x="266" y="177"/>
                  </a:lnTo>
                  <a:lnTo>
                    <a:pt x="262" y="186"/>
                  </a:lnTo>
                  <a:lnTo>
                    <a:pt x="273" y="139"/>
                  </a:lnTo>
                  <a:lnTo>
                    <a:pt x="273" y="150"/>
                  </a:lnTo>
                  <a:lnTo>
                    <a:pt x="262" y="103"/>
                  </a:lnTo>
                  <a:lnTo>
                    <a:pt x="266" y="112"/>
                  </a:lnTo>
                  <a:lnTo>
                    <a:pt x="238" y="74"/>
                  </a:lnTo>
                  <a:lnTo>
                    <a:pt x="245" y="80"/>
                  </a:lnTo>
                  <a:lnTo>
                    <a:pt x="201" y="54"/>
                  </a:lnTo>
                  <a:lnTo>
                    <a:pt x="209" y="57"/>
                  </a:lnTo>
                  <a:lnTo>
                    <a:pt x="156" y="48"/>
                  </a:lnTo>
                  <a:lnTo>
                    <a:pt x="164" y="48"/>
                  </a:lnTo>
                  <a:lnTo>
                    <a:pt x="111" y="57"/>
                  </a:lnTo>
                  <a:lnTo>
                    <a:pt x="120" y="54"/>
                  </a:lnTo>
                  <a:lnTo>
                    <a:pt x="77" y="80"/>
                  </a:lnTo>
                  <a:lnTo>
                    <a:pt x="84" y="74"/>
                  </a:lnTo>
                  <a:lnTo>
                    <a:pt x="55" y="112"/>
                  </a:lnTo>
                  <a:lnTo>
                    <a:pt x="59" y="103"/>
                  </a:lnTo>
                  <a:lnTo>
                    <a:pt x="48" y="150"/>
                  </a:lnTo>
                  <a:lnTo>
                    <a:pt x="48" y="139"/>
                  </a:lnTo>
                  <a:lnTo>
                    <a:pt x="59" y="186"/>
                  </a:lnTo>
                  <a:close/>
                </a:path>
              </a:pathLst>
            </a:custGeom>
            <a:solidFill>
              <a:srgbClr val="116FA1"/>
            </a:solidFill>
            <a:ln w="0" cap="flat">
              <a:solidFill>
                <a:srgbClr val="116FA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" name="Rectangle 8"/>
            <p:cNvSpPr>
              <a:spLocks noChangeArrowheads="1"/>
            </p:cNvSpPr>
            <p:nvPr/>
          </p:nvSpPr>
          <p:spPr bwMode="auto">
            <a:xfrm>
              <a:off x="1658926" y="3506498"/>
              <a:ext cx="257754" cy="1334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303"/>
              <a:r>
                <a:rPr lang="ru-RU" sz="1100" b="1" dirty="0">
                  <a:solidFill>
                    <a:srgbClr val="00193A"/>
                  </a:solidFill>
                </a:rPr>
                <a:t>ЧИТА</a:t>
              </a:r>
              <a:endParaRPr lang="ru-RU" sz="1100" dirty="0"/>
            </a:p>
          </p:txBody>
        </p:sp>
        <p:sp>
          <p:nvSpPr>
            <p:cNvPr id="23" name="Rectangle 9"/>
            <p:cNvSpPr>
              <a:spLocks noChangeArrowheads="1"/>
            </p:cNvSpPr>
            <p:nvPr/>
          </p:nvSpPr>
          <p:spPr bwMode="auto">
            <a:xfrm>
              <a:off x="980128" y="4837667"/>
              <a:ext cx="573627" cy="1334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303"/>
              <a:r>
                <a:rPr lang="ru-RU" sz="1100" b="1" dirty="0">
                  <a:solidFill>
                    <a:srgbClr val="00B050"/>
                  </a:solidFill>
                </a:rPr>
                <a:t>МОНГОЛИЯ</a:t>
              </a:r>
              <a:endParaRPr lang="ru-RU" dirty="0"/>
            </a:p>
          </p:txBody>
        </p:sp>
        <p:sp>
          <p:nvSpPr>
            <p:cNvPr id="24" name="Rectangle 10"/>
            <p:cNvSpPr>
              <a:spLocks noChangeArrowheads="1"/>
            </p:cNvSpPr>
            <p:nvPr/>
          </p:nvSpPr>
          <p:spPr bwMode="auto">
            <a:xfrm>
              <a:off x="2116205" y="4770651"/>
              <a:ext cx="329773" cy="1334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303"/>
              <a:r>
                <a:rPr lang="ru-RU" sz="1100" b="1" dirty="0">
                  <a:solidFill>
                    <a:srgbClr val="C00000"/>
                  </a:solidFill>
                </a:rPr>
                <a:t>КИТАЙ</a:t>
              </a:r>
              <a:endParaRPr lang="ru-RU" dirty="0"/>
            </a:p>
          </p:txBody>
        </p:sp>
        <p:pic>
          <p:nvPicPr>
            <p:cNvPr id="25" name="Picture 11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24431" y="4269559"/>
              <a:ext cx="1672471" cy="5437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" name="Picture 12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24431" y="4269559"/>
              <a:ext cx="1672471" cy="5437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7" name="Freeform 13"/>
            <p:cNvSpPr>
              <a:spLocks noEditPoints="1"/>
            </p:cNvSpPr>
            <p:nvPr/>
          </p:nvSpPr>
          <p:spPr bwMode="auto">
            <a:xfrm>
              <a:off x="570317" y="4298498"/>
              <a:ext cx="1572787" cy="441692"/>
            </a:xfrm>
            <a:custGeom>
              <a:avLst/>
              <a:gdLst/>
              <a:ahLst/>
              <a:cxnLst>
                <a:cxn ang="0">
                  <a:pos x="229" y="469"/>
                </a:cxn>
                <a:cxn ang="0">
                  <a:pos x="453" y="535"/>
                </a:cxn>
                <a:cxn ang="0">
                  <a:pos x="685" y="631"/>
                </a:cxn>
                <a:cxn ang="0">
                  <a:pos x="830" y="636"/>
                </a:cxn>
                <a:cxn ang="0">
                  <a:pos x="1138" y="558"/>
                </a:cxn>
                <a:cxn ang="0">
                  <a:pos x="1362" y="535"/>
                </a:cxn>
                <a:cxn ang="0">
                  <a:pos x="1532" y="460"/>
                </a:cxn>
                <a:cxn ang="0">
                  <a:pos x="1704" y="433"/>
                </a:cxn>
                <a:cxn ang="0">
                  <a:pos x="1843" y="204"/>
                </a:cxn>
                <a:cxn ang="0">
                  <a:pos x="2047" y="73"/>
                </a:cxn>
                <a:cxn ang="0">
                  <a:pos x="2251" y="31"/>
                </a:cxn>
                <a:cxn ang="0">
                  <a:pos x="2481" y="189"/>
                </a:cxn>
                <a:cxn ang="0">
                  <a:pos x="2605" y="267"/>
                </a:cxn>
                <a:cxn ang="0">
                  <a:pos x="2813" y="183"/>
                </a:cxn>
                <a:cxn ang="0">
                  <a:pos x="2953" y="459"/>
                </a:cxn>
                <a:cxn ang="0">
                  <a:pos x="2841" y="756"/>
                </a:cxn>
                <a:cxn ang="0">
                  <a:pos x="2958" y="274"/>
                </a:cxn>
                <a:cxn ang="0">
                  <a:pos x="2677" y="322"/>
                </a:cxn>
                <a:cxn ang="0">
                  <a:pos x="2531" y="277"/>
                </a:cxn>
                <a:cxn ang="0">
                  <a:pos x="2350" y="71"/>
                </a:cxn>
                <a:cxn ang="0">
                  <a:pos x="2163" y="34"/>
                </a:cxn>
                <a:cxn ang="0">
                  <a:pos x="1927" y="214"/>
                </a:cxn>
                <a:cxn ang="0">
                  <a:pos x="1766" y="316"/>
                </a:cxn>
                <a:cxn ang="0">
                  <a:pos x="1616" y="513"/>
                </a:cxn>
                <a:cxn ang="0">
                  <a:pos x="1463" y="503"/>
                </a:cxn>
                <a:cxn ang="0">
                  <a:pos x="1200" y="574"/>
                </a:cxn>
                <a:cxn ang="0">
                  <a:pos x="966" y="649"/>
                </a:cxn>
                <a:cxn ang="0">
                  <a:pos x="736" y="643"/>
                </a:cxn>
                <a:cxn ang="0">
                  <a:pos x="493" y="601"/>
                </a:cxn>
                <a:cxn ang="0">
                  <a:pos x="303" y="494"/>
                </a:cxn>
                <a:cxn ang="0">
                  <a:pos x="159" y="472"/>
                </a:cxn>
                <a:cxn ang="0">
                  <a:pos x="212" y="531"/>
                </a:cxn>
                <a:cxn ang="0">
                  <a:pos x="364" y="532"/>
                </a:cxn>
                <a:cxn ang="0">
                  <a:pos x="611" y="667"/>
                </a:cxn>
                <a:cxn ang="0">
                  <a:pos x="765" y="639"/>
                </a:cxn>
                <a:cxn ang="0">
                  <a:pos x="1014" y="659"/>
                </a:cxn>
                <a:cxn ang="0">
                  <a:pos x="1225" y="588"/>
                </a:cxn>
                <a:cxn ang="0">
                  <a:pos x="1460" y="530"/>
                </a:cxn>
                <a:cxn ang="0">
                  <a:pos x="1614" y="540"/>
                </a:cxn>
                <a:cxn ang="0">
                  <a:pos x="1768" y="374"/>
                </a:cxn>
                <a:cxn ang="0">
                  <a:pos x="1940" y="239"/>
                </a:cxn>
                <a:cxn ang="0">
                  <a:pos x="2156" y="68"/>
                </a:cxn>
                <a:cxn ang="0">
                  <a:pos x="2352" y="100"/>
                </a:cxn>
                <a:cxn ang="0">
                  <a:pos x="2573" y="309"/>
                </a:cxn>
                <a:cxn ang="0">
                  <a:pos x="2694" y="343"/>
                </a:cxn>
                <a:cxn ang="0">
                  <a:pos x="2987" y="299"/>
                </a:cxn>
                <a:cxn ang="0">
                  <a:pos x="2812" y="764"/>
                </a:cxn>
                <a:cxn ang="0">
                  <a:pos x="2927" y="310"/>
                </a:cxn>
                <a:cxn ang="0">
                  <a:pos x="2785" y="300"/>
                </a:cxn>
                <a:cxn ang="0">
                  <a:pos x="2560" y="344"/>
                </a:cxn>
                <a:cxn ang="0">
                  <a:pos x="2401" y="188"/>
                </a:cxn>
                <a:cxn ang="0">
                  <a:pos x="2193" y="99"/>
                </a:cxn>
                <a:cxn ang="0">
                  <a:pos x="2000" y="201"/>
                </a:cxn>
                <a:cxn ang="0">
                  <a:pos x="1852" y="322"/>
                </a:cxn>
                <a:cxn ang="0">
                  <a:pos x="1686" y="529"/>
                </a:cxn>
                <a:cxn ang="0">
                  <a:pos x="1508" y="554"/>
                </a:cxn>
                <a:cxn ang="0">
                  <a:pos x="1289" y="629"/>
                </a:cxn>
                <a:cxn ang="0">
                  <a:pos x="1106" y="642"/>
                </a:cxn>
                <a:cxn ang="0">
                  <a:pos x="771" y="697"/>
                </a:cxn>
                <a:cxn ang="0">
                  <a:pos x="627" y="688"/>
                </a:cxn>
                <a:cxn ang="0">
                  <a:pos x="396" y="596"/>
                </a:cxn>
                <a:cxn ang="0">
                  <a:pos x="273" y="537"/>
                </a:cxn>
              </a:cxnLst>
              <a:rect l="0" t="0" r="r" b="b"/>
              <a:pathLst>
                <a:path w="3024" h="804">
                  <a:moveTo>
                    <a:pt x="0" y="668"/>
                  </a:moveTo>
                  <a:lnTo>
                    <a:pt x="58" y="479"/>
                  </a:lnTo>
                  <a:cubicBezTo>
                    <a:pt x="64" y="459"/>
                    <a:pt x="85" y="447"/>
                    <a:pt x="105" y="451"/>
                  </a:cubicBezTo>
                  <a:lnTo>
                    <a:pt x="123" y="455"/>
                  </a:lnTo>
                  <a:lnTo>
                    <a:pt x="125" y="456"/>
                  </a:lnTo>
                  <a:lnTo>
                    <a:pt x="123" y="457"/>
                  </a:lnTo>
                  <a:lnTo>
                    <a:pt x="134" y="450"/>
                  </a:lnTo>
                  <a:cubicBezTo>
                    <a:pt x="144" y="444"/>
                    <a:pt x="156" y="443"/>
                    <a:pt x="167" y="447"/>
                  </a:cubicBezTo>
                  <a:lnTo>
                    <a:pt x="179" y="451"/>
                  </a:lnTo>
                  <a:cubicBezTo>
                    <a:pt x="182" y="451"/>
                    <a:pt x="185" y="453"/>
                    <a:pt x="187" y="454"/>
                  </a:cubicBezTo>
                  <a:lnTo>
                    <a:pt x="202" y="463"/>
                  </a:lnTo>
                  <a:lnTo>
                    <a:pt x="227" y="479"/>
                  </a:lnTo>
                  <a:lnTo>
                    <a:pt x="237" y="484"/>
                  </a:lnTo>
                  <a:lnTo>
                    <a:pt x="228" y="480"/>
                  </a:lnTo>
                  <a:lnTo>
                    <a:pt x="209" y="488"/>
                  </a:lnTo>
                  <a:lnTo>
                    <a:pt x="208" y="490"/>
                  </a:lnTo>
                  <a:lnTo>
                    <a:pt x="210" y="487"/>
                  </a:lnTo>
                  <a:cubicBezTo>
                    <a:pt x="213" y="481"/>
                    <a:pt x="218" y="476"/>
                    <a:pt x="224" y="472"/>
                  </a:cubicBezTo>
                  <a:lnTo>
                    <a:pt x="229" y="469"/>
                  </a:lnTo>
                  <a:cubicBezTo>
                    <a:pt x="241" y="462"/>
                    <a:pt x="257" y="462"/>
                    <a:pt x="269" y="469"/>
                  </a:cubicBezTo>
                  <a:lnTo>
                    <a:pt x="285" y="478"/>
                  </a:lnTo>
                  <a:lnTo>
                    <a:pt x="298" y="486"/>
                  </a:lnTo>
                  <a:lnTo>
                    <a:pt x="289" y="484"/>
                  </a:lnTo>
                  <a:lnTo>
                    <a:pt x="270" y="490"/>
                  </a:lnTo>
                  <a:lnTo>
                    <a:pt x="268" y="493"/>
                  </a:lnTo>
                  <a:cubicBezTo>
                    <a:pt x="270" y="490"/>
                    <a:pt x="272" y="487"/>
                    <a:pt x="275" y="484"/>
                  </a:cubicBezTo>
                  <a:lnTo>
                    <a:pt x="284" y="475"/>
                  </a:lnTo>
                  <a:cubicBezTo>
                    <a:pt x="292" y="467"/>
                    <a:pt x="303" y="463"/>
                    <a:pt x="314" y="464"/>
                  </a:cubicBezTo>
                  <a:lnTo>
                    <a:pt x="335" y="465"/>
                  </a:lnTo>
                  <a:cubicBezTo>
                    <a:pt x="338" y="465"/>
                    <a:pt x="341" y="465"/>
                    <a:pt x="344" y="466"/>
                  </a:cubicBezTo>
                  <a:lnTo>
                    <a:pt x="366" y="472"/>
                  </a:lnTo>
                  <a:cubicBezTo>
                    <a:pt x="370" y="473"/>
                    <a:pt x="374" y="475"/>
                    <a:pt x="377" y="477"/>
                  </a:cubicBezTo>
                  <a:lnTo>
                    <a:pt x="394" y="488"/>
                  </a:lnTo>
                  <a:cubicBezTo>
                    <a:pt x="396" y="489"/>
                    <a:pt x="398" y="490"/>
                    <a:pt x="399" y="492"/>
                  </a:cubicBezTo>
                  <a:lnTo>
                    <a:pt x="408" y="500"/>
                  </a:lnTo>
                  <a:lnTo>
                    <a:pt x="432" y="518"/>
                  </a:lnTo>
                  <a:lnTo>
                    <a:pt x="447" y="530"/>
                  </a:lnTo>
                  <a:cubicBezTo>
                    <a:pt x="449" y="532"/>
                    <a:pt x="451" y="534"/>
                    <a:pt x="453" y="535"/>
                  </a:cubicBezTo>
                  <a:lnTo>
                    <a:pt x="465" y="549"/>
                  </a:lnTo>
                  <a:cubicBezTo>
                    <a:pt x="471" y="556"/>
                    <a:pt x="474" y="564"/>
                    <a:pt x="474" y="573"/>
                  </a:cubicBezTo>
                  <a:lnTo>
                    <a:pt x="475" y="591"/>
                  </a:lnTo>
                  <a:lnTo>
                    <a:pt x="475" y="589"/>
                  </a:lnTo>
                  <a:lnTo>
                    <a:pt x="466" y="575"/>
                  </a:lnTo>
                  <a:lnTo>
                    <a:pt x="458" y="572"/>
                  </a:lnTo>
                  <a:lnTo>
                    <a:pt x="467" y="573"/>
                  </a:lnTo>
                  <a:lnTo>
                    <a:pt x="495" y="575"/>
                  </a:lnTo>
                  <a:cubicBezTo>
                    <a:pt x="498" y="575"/>
                    <a:pt x="501" y="575"/>
                    <a:pt x="503" y="576"/>
                  </a:cubicBezTo>
                  <a:lnTo>
                    <a:pt x="521" y="581"/>
                  </a:lnTo>
                  <a:cubicBezTo>
                    <a:pt x="523" y="581"/>
                    <a:pt x="525" y="582"/>
                    <a:pt x="527" y="583"/>
                  </a:cubicBezTo>
                  <a:lnTo>
                    <a:pt x="545" y="591"/>
                  </a:lnTo>
                  <a:lnTo>
                    <a:pt x="567" y="601"/>
                  </a:lnTo>
                  <a:lnTo>
                    <a:pt x="583" y="608"/>
                  </a:lnTo>
                  <a:lnTo>
                    <a:pt x="616" y="613"/>
                  </a:lnTo>
                  <a:lnTo>
                    <a:pt x="630" y="613"/>
                  </a:lnTo>
                  <a:lnTo>
                    <a:pt x="653" y="614"/>
                  </a:lnTo>
                  <a:cubicBezTo>
                    <a:pt x="663" y="614"/>
                    <a:pt x="672" y="618"/>
                    <a:pt x="679" y="625"/>
                  </a:cubicBezTo>
                  <a:lnTo>
                    <a:pt x="685" y="631"/>
                  </a:lnTo>
                  <a:cubicBezTo>
                    <a:pt x="687" y="634"/>
                    <a:pt x="690" y="637"/>
                    <a:pt x="691" y="640"/>
                  </a:cubicBezTo>
                  <a:lnTo>
                    <a:pt x="696" y="649"/>
                  </a:lnTo>
                  <a:lnTo>
                    <a:pt x="692" y="642"/>
                  </a:lnTo>
                  <a:lnTo>
                    <a:pt x="679" y="638"/>
                  </a:lnTo>
                  <a:lnTo>
                    <a:pt x="682" y="638"/>
                  </a:lnTo>
                  <a:lnTo>
                    <a:pt x="698" y="632"/>
                  </a:lnTo>
                  <a:lnTo>
                    <a:pt x="713" y="624"/>
                  </a:lnTo>
                  <a:lnTo>
                    <a:pt x="719" y="621"/>
                  </a:lnTo>
                  <a:lnTo>
                    <a:pt x="713" y="629"/>
                  </a:lnTo>
                  <a:lnTo>
                    <a:pt x="711" y="637"/>
                  </a:lnTo>
                  <a:lnTo>
                    <a:pt x="711" y="634"/>
                  </a:lnTo>
                  <a:cubicBezTo>
                    <a:pt x="711" y="616"/>
                    <a:pt x="724" y="600"/>
                    <a:pt x="742" y="596"/>
                  </a:cubicBezTo>
                  <a:lnTo>
                    <a:pt x="746" y="595"/>
                  </a:lnTo>
                  <a:cubicBezTo>
                    <a:pt x="756" y="592"/>
                    <a:pt x="766" y="594"/>
                    <a:pt x="775" y="598"/>
                  </a:cubicBezTo>
                  <a:lnTo>
                    <a:pt x="784" y="604"/>
                  </a:lnTo>
                  <a:cubicBezTo>
                    <a:pt x="786" y="605"/>
                    <a:pt x="788" y="606"/>
                    <a:pt x="790" y="608"/>
                  </a:cubicBezTo>
                  <a:lnTo>
                    <a:pt x="801" y="617"/>
                  </a:lnTo>
                  <a:lnTo>
                    <a:pt x="818" y="631"/>
                  </a:lnTo>
                  <a:lnTo>
                    <a:pt x="830" y="636"/>
                  </a:lnTo>
                  <a:lnTo>
                    <a:pt x="847" y="642"/>
                  </a:lnTo>
                  <a:cubicBezTo>
                    <a:pt x="849" y="642"/>
                    <a:pt x="852" y="643"/>
                    <a:pt x="854" y="644"/>
                  </a:cubicBezTo>
                  <a:lnTo>
                    <a:pt x="871" y="654"/>
                  </a:lnTo>
                  <a:lnTo>
                    <a:pt x="878" y="657"/>
                  </a:lnTo>
                  <a:lnTo>
                    <a:pt x="889" y="654"/>
                  </a:lnTo>
                  <a:lnTo>
                    <a:pt x="913" y="643"/>
                  </a:lnTo>
                  <a:lnTo>
                    <a:pt x="944" y="630"/>
                  </a:lnTo>
                  <a:lnTo>
                    <a:pt x="956" y="625"/>
                  </a:lnTo>
                  <a:lnTo>
                    <a:pt x="962" y="622"/>
                  </a:lnTo>
                  <a:lnTo>
                    <a:pt x="995" y="609"/>
                  </a:lnTo>
                  <a:lnTo>
                    <a:pt x="1024" y="597"/>
                  </a:lnTo>
                  <a:lnTo>
                    <a:pt x="1042" y="589"/>
                  </a:lnTo>
                  <a:lnTo>
                    <a:pt x="1051" y="583"/>
                  </a:lnTo>
                  <a:lnTo>
                    <a:pt x="1062" y="571"/>
                  </a:lnTo>
                  <a:lnTo>
                    <a:pt x="1070" y="563"/>
                  </a:lnTo>
                  <a:cubicBezTo>
                    <a:pt x="1075" y="559"/>
                    <a:pt x="1081" y="555"/>
                    <a:pt x="1087" y="553"/>
                  </a:cubicBezTo>
                  <a:lnTo>
                    <a:pt x="1097" y="550"/>
                  </a:lnTo>
                  <a:cubicBezTo>
                    <a:pt x="1106" y="547"/>
                    <a:pt x="1116" y="548"/>
                    <a:pt x="1124" y="552"/>
                  </a:cubicBezTo>
                  <a:lnTo>
                    <a:pt x="1138" y="558"/>
                  </a:lnTo>
                  <a:cubicBezTo>
                    <a:pt x="1140" y="559"/>
                    <a:pt x="1142" y="560"/>
                    <a:pt x="1144" y="561"/>
                  </a:cubicBezTo>
                  <a:lnTo>
                    <a:pt x="1161" y="572"/>
                  </a:lnTo>
                  <a:lnTo>
                    <a:pt x="1173" y="579"/>
                  </a:lnTo>
                  <a:lnTo>
                    <a:pt x="1166" y="578"/>
                  </a:lnTo>
                  <a:lnTo>
                    <a:pt x="1160" y="581"/>
                  </a:lnTo>
                  <a:lnTo>
                    <a:pt x="1168" y="572"/>
                  </a:lnTo>
                  <a:lnTo>
                    <a:pt x="1176" y="561"/>
                  </a:lnTo>
                  <a:cubicBezTo>
                    <a:pt x="1178" y="558"/>
                    <a:pt x="1181" y="556"/>
                    <a:pt x="1183" y="554"/>
                  </a:cubicBezTo>
                  <a:lnTo>
                    <a:pt x="1194" y="545"/>
                  </a:lnTo>
                  <a:cubicBezTo>
                    <a:pt x="1200" y="540"/>
                    <a:pt x="1207" y="537"/>
                    <a:pt x="1215" y="536"/>
                  </a:cubicBezTo>
                  <a:lnTo>
                    <a:pt x="1224" y="535"/>
                  </a:lnTo>
                  <a:cubicBezTo>
                    <a:pt x="1233" y="534"/>
                    <a:pt x="1242" y="536"/>
                    <a:pt x="1250" y="541"/>
                  </a:cubicBezTo>
                  <a:lnTo>
                    <a:pt x="1258" y="546"/>
                  </a:lnTo>
                  <a:lnTo>
                    <a:pt x="1265" y="549"/>
                  </a:lnTo>
                  <a:lnTo>
                    <a:pt x="1292" y="549"/>
                  </a:lnTo>
                  <a:lnTo>
                    <a:pt x="1323" y="548"/>
                  </a:lnTo>
                  <a:lnTo>
                    <a:pt x="1337" y="547"/>
                  </a:lnTo>
                  <a:lnTo>
                    <a:pt x="1346" y="544"/>
                  </a:lnTo>
                  <a:lnTo>
                    <a:pt x="1362" y="535"/>
                  </a:lnTo>
                  <a:lnTo>
                    <a:pt x="1365" y="532"/>
                  </a:lnTo>
                  <a:lnTo>
                    <a:pt x="1370" y="529"/>
                  </a:lnTo>
                  <a:lnTo>
                    <a:pt x="1382" y="522"/>
                  </a:lnTo>
                  <a:lnTo>
                    <a:pt x="1390" y="517"/>
                  </a:lnTo>
                  <a:lnTo>
                    <a:pt x="1408" y="501"/>
                  </a:lnTo>
                  <a:lnTo>
                    <a:pt x="1434" y="483"/>
                  </a:lnTo>
                  <a:cubicBezTo>
                    <a:pt x="1441" y="479"/>
                    <a:pt x="1448" y="476"/>
                    <a:pt x="1456" y="476"/>
                  </a:cubicBezTo>
                  <a:lnTo>
                    <a:pt x="1463" y="476"/>
                  </a:lnTo>
                  <a:cubicBezTo>
                    <a:pt x="1470" y="476"/>
                    <a:pt x="1476" y="478"/>
                    <a:pt x="1481" y="481"/>
                  </a:cubicBezTo>
                  <a:lnTo>
                    <a:pt x="1487" y="484"/>
                  </a:lnTo>
                  <a:lnTo>
                    <a:pt x="1488" y="483"/>
                  </a:lnTo>
                  <a:lnTo>
                    <a:pt x="1468" y="483"/>
                  </a:lnTo>
                  <a:lnTo>
                    <a:pt x="1463" y="487"/>
                  </a:lnTo>
                  <a:lnTo>
                    <a:pt x="1469" y="481"/>
                  </a:lnTo>
                  <a:lnTo>
                    <a:pt x="1477" y="473"/>
                  </a:lnTo>
                  <a:cubicBezTo>
                    <a:pt x="1481" y="470"/>
                    <a:pt x="1485" y="467"/>
                    <a:pt x="1489" y="465"/>
                  </a:cubicBezTo>
                  <a:lnTo>
                    <a:pt x="1498" y="461"/>
                  </a:lnTo>
                  <a:cubicBezTo>
                    <a:pt x="1506" y="458"/>
                    <a:pt x="1514" y="457"/>
                    <a:pt x="1522" y="458"/>
                  </a:cubicBezTo>
                  <a:lnTo>
                    <a:pt x="1532" y="460"/>
                  </a:lnTo>
                  <a:cubicBezTo>
                    <a:pt x="1536" y="461"/>
                    <a:pt x="1540" y="462"/>
                    <a:pt x="1544" y="464"/>
                  </a:cubicBezTo>
                  <a:lnTo>
                    <a:pt x="1555" y="470"/>
                  </a:lnTo>
                  <a:lnTo>
                    <a:pt x="1575" y="481"/>
                  </a:lnTo>
                  <a:lnTo>
                    <a:pt x="1581" y="483"/>
                  </a:lnTo>
                  <a:lnTo>
                    <a:pt x="1582" y="483"/>
                  </a:lnTo>
                  <a:lnTo>
                    <a:pt x="1587" y="483"/>
                  </a:lnTo>
                  <a:lnTo>
                    <a:pt x="1593" y="483"/>
                  </a:lnTo>
                  <a:lnTo>
                    <a:pt x="1616" y="486"/>
                  </a:lnTo>
                  <a:lnTo>
                    <a:pt x="1620" y="486"/>
                  </a:lnTo>
                  <a:lnTo>
                    <a:pt x="1615" y="491"/>
                  </a:lnTo>
                  <a:lnTo>
                    <a:pt x="1620" y="481"/>
                  </a:lnTo>
                  <a:lnTo>
                    <a:pt x="1627" y="465"/>
                  </a:lnTo>
                  <a:cubicBezTo>
                    <a:pt x="1629" y="462"/>
                    <a:pt x="1631" y="458"/>
                    <a:pt x="1634" y="455"/>
                  </a:cubicBezTo>
                  <a:lnTo>
                    <a:pt x="1643" y="445"/>
                  </a:lnTo>
                  <a:cubicBezTo>
                    <a:pt x="1648" y="439"/>
                    <a:pt x="1654" y="435"/>
                    <a:pt x="1661" y="433"/>
                  </a:cubicBezTo>
                  <a:lnTo>
                    <a:pt x="1671" y="430"/>
                  </a:lnTo>
                  <a:cubicBezTo>
                    <a:pt x="1678" y="428"/>
                    <a:pt x="1685" y="428"/>
                    <a:pt x="1692" y="430"/>
                  </a:cubicBezTo>
                  <a:lnTo>
                    <a:pt x="1704" y="433"/>
                  </a:lnTo>
                  <a:lnTo>
                    <a:pt x="1704" y="433"/>
                  </a:lnTo>
                  <a:lnTo>
                    <a:pt x="1685" y="439"/>
                  </a:lnTo>
                  <a:lnTo>
                    <a:pt x="1682" y="447"/>
                  </a:lnTo>
                  <a:lnTo>
                    <a:pt x="1685" y="435"/>
                  </a:lnTo>
                  <a:lnTo>
                    <a:pt x="1691" y="404"/>
                  </a:lnTo>
                  <a:cubicBezTo>
                    <a:pt x="1692" y="400"/>
                    <a:pt x="1694" y="396"/>
                    <a:pt x="1696" y="392"/>
                  </a:cubicBezTo>
                  <a:lnTo>
                    <a:pt x="1722" y="347"/>
                  </a:lnTo>
                  <a:lnTo>
                    <a:pt x="1730" y="328"/>
                  </a:lnTo>
                  <a:lnTo>
                    <a:pt x="1742" y="304"/>
                  </a:lnTo>
                  <a:cubicBezTo>
                    <a:pt x="1744" y="300"/>
                    <a:pt x="1746" y="296"/>
                    <a:pt x="1749" y="293"/>
                  </a:cubicBezTo>
                  <a:lnTo>
                    <a:pt x="1763" y="279"/>
                  </a:lnTo>
                  <a:cubicBezTo>
                    <a:pt x="1765" y="277"/>
                    <a:pt x="1767" y="276"/>
                    <a:pt x="1769" y="274"/>
                  </a:cubicBezTo>
                  <a:lnTo>
                    <a:pt x="1787" y="262"/>
                  </a:lnTo>
                  <a:cubicBezTo>
                    <a:pt x="1790" y="261"/>
                    <a:pt x="1792" y="259"/>
                    <a:pt x="1794" y="258"/>
                  </a:cubicBezTo>
                  <a:lnTo>
                    <a:pt x="1819" y="249"/>
                  </a:lnTo>
                  <a:lnTo>
                    <a:pt x="1831" y="241"/>
                  </a:lnTo>
                  <a:lnTo>
                    <a:pt x="1831" y="242"/>
                  </a:lnTo>
                  <a:lnTo>
                    <a:pt x="1834" y="231"/>
                  </a:lnTo>
                  <a:lnTo>
                    <a:pt x="1838" y="216"/>
                  </a:lnTo>
                  <a:cubicBezTo>
                    <a:pt x="1839" y="212"/>
                    <a:pt x="1841" y="208"/>
                    <a:pt x="1843" y="204"/>
                  </a:cubicBezTo>
                  <a:lnTo>
                    <a:pt x="1849" y="195"/>
                  </a:lnTo>
                  <a:cubicBezTo>
                    <a:pt x="1857" y="184"/>
                    <a:pt x="1869" y="177"/>
                    <a:pt x="1882" y="177"/>
                  </a:cubicBezTo>
                  <a:lnTo>
                    <a:pt x="1893" y="177"/>
                  </a:lnTo>
                  <a:cubicBezTo>
                    <a:pt x="1900" y="177"/>
                    <a:pt x="1907" y="179"/>
                    <a:pt x="1912" y="182"/>
                  </a:cubicBezTo>
                  <a:lnTo>
                    <a:pt x="1925" y="189"/>
                  </a:lnTo>
                  <a:lnTo>
                    <a:pt x="1928" y="190"/>
                  </a:lnTo>
                  <a:lnTo>
                    <a:pt x="1913" y="190"/>
                  </a:lnTo>
                  <a:lnTo>
                    <a:pt x="1904" y="200"/>
                  </a:lnTo>
                  <a:lnTo>
                    <a:pt x="1908" y="192"/>
                  </a:lnTo>
                  <a:lnTo>
                    <a:pt x="1927" y="158"/>
                  </a:lnTo>
                  <a:cubicBezTo>
                    <a:pt x="1930" y="153"/>
                    <a:pt x="1934" y="148"/>
                    <a:pt x="1940" y="145"/>
                  </a:cubicBezTo>
                  <a:lnTo>
                    <a:pt x="1957" y="134"/>
                  </a:lnTo>
                  <a:lnTo>
                    <a:pt x="1981" y="122"/>
                  </a:lnTo>
                  <a:lnTo>
                    <a:pt x="2004" y="112"/>
                  </a:lnTo>
                  <a:lnTo>
                    <a:pt x="2013" y="106"/>
                  </a:lnTo>
                  <a:lnTo>
                    <a:pt x="2019" y="102"/>
                  </a:lnTo>
                  <a:lnTo>
                    <a:pt x="2023" y="96"/>
                  </a:lnTo>
                  <a:lnTo>
                    <a:pt x="2038" y="80"/>
                  </a:lnTo>
                  <a:cubicBezTo>
                    <a:pt x="2041" y="78"/>
                    <a:pt x="2043" y="75"/>
                    <a:pt x="2047" y="73"/>
                  </a:cubicBezTo>
                  <a:lnTo>
                    <a:pt x="2060" y="65"/>
                  </a:lnTo>
                  <a:lnTo>
                    <a:pt x="2075" y="56"/>
                  </a:lnTo>
                  <a:lnTo>
                    <a:pt x="2090" y="48"/>
                  </a:lnTo>
                  <a:lnTo>
                    <a:pt x="2097" y="45"/>
                  </a:lnTo>
                  <a:lnTo>
                    <a:pt x="2109" y="37"/>
                  </a:lnTo>
                  <a:lnTo>
                    <a:pt x="2125" y="25"/>
                  </a:lnTo>
                  <a:lnTo>
                    <a:pt x="2146" y="12"/>
                  </a:lnTo>
                  <a:cubicBezTo>
                    <a:pt x="2149" y="11"/>
                    <a:pt x="2152" y="9"/>
                    <a:pt x="2155" y="8"/>
                  </a:cubicBezTo>
                  <a:lnTo>
                    <a:pt x="2172" y="3"/>
                  </a:lnTo>
                  <a:cubicBezTo>
                    <a:pt x="2181" y="0"/>
                    <a:pt x="2191" y="1"/>
                    <a:pt x="2199" y="5"/>
                  </a:cubicBezTo>
                  <a:lnTo>
                    <a:pt x="2213" y="11"/>
                  </a:lnTo>
                  <a:cubicBezTo>
                    <a:pt x="2217" y="12"/>
                    <a:pt x="2220" y="14"/>
                    <a:pt x="2223" y="17"/>
                  </a:cubicBezTo>
                  <a:lnTo>
                    <a:pt x="2237" y="29"/>
                  </a:lnTo>
                  <a:cubicBezTo>
                    <a:pt x="2239" y="30"/>
                    <a:pt x="2241" y="32"/>
                    <a:pt x="2242" y="33"/>
                  </a:cubicBezTo>
                  <a:lnTo>
                    <a:pt x="2249" y="42"/>
                  </a:lnTo>
                  <a:lnTo>
                    <a:pt x="2245" y="40"/>
                  </a:lnTo>
                  <a:lnTo>
                    <a:pt x="2235" y="40"/>
                  </a:lnTo>
                  <a:lnTo>
                    <a:pt x="2239" y="38"/>
                  </a:lnTo>
                  <a:lnTo>
                    <a:pt x="2251" y="31"/>
                  </a:lnTo>
                  <a:cubicBezTo>
                    <a:pt x="2254" y="30"/>
                    <a:pt x="2256" y="28"/>
                    <a:pt x="2259" y="28"/>
                  </a:cubicBezTo>
                  <a:lnTo>
                    <a:pt x="2271" y="24"/>
                  </a:lnTo>
                  <a:cubicBezTo>
                    <a:pt x="2278" y="21"/>
                    <a:pt x="2287" y="21"/>
                    <a:pt x="2294" y="23"/>
                  </a:cubicBezTo>
                  <a:lnTo>
                    <a:pt x="2322" y="31"/>
                  </a:lnTo>
                  <a:cubicBezTo>
                    <a:pt x="2324" y="32"/>
                    <a:pt x="2326" y="32"/>
                    <a:pt x="2328" y="33"/>
                  </a:cubicBezTo>
                  <a:lnTo>
                    <a:pt x="2349" y="43"/>
                  </a:lnTo>
                  <a:lnTo>
                    <a:pt x="2353" y="44"/>
                  </a:lnTo>
                  <a:lnTo>
                    <a:pt x="2356" y="45"/>
                  </a:lnTo>
                  <a:lnTo>
                    <a:pt x="2371" y="50"/>
                  </a:lnTo>
                  <a:lnTo>
                    <a:pt x="2400" y="65"/>
                  </a:lnTo>
                  <a:cubicBezTo>
                    <a:pt x="2402" y="66"/>
                    <a:pt x="2404" y="67"/>
                    <a:pt x="2406" y="68"/>
                  </a:cubicBezTo>
                  <a:lnTo>
                    <a:pt x="2433" y="88"/>
                  </a:lnTo>
                  <a:cubicBezTo>
                    <a:pt x="2437" y="91"/>
                    <a:pt x="2441" y="95"/>
                    <a:pt x="2443" y="99"/>
                  </a:cubicBezTo>
                  <a:lnTo>
                    <a:pt x="2462" y="129"/>
                  </a:lnTo>
                  <a:cubicBezTo>
                    <a:pt x="2463" y="131"/>
                    <a:pt x="2464" y="133"/>
                    <a:pt x="2465" y="134"/>
                  </a:cubicBezTo>
                  <a:lnTo>
                    <a:pt x="2472" y="150"/>
                  </a:lnTo>
                  <a:lnTo>
                    <a:pt x="2477" y="161"/>
                  </a:lnTo>
                  <a:cubicBezTo>
                    <a:pt x="2480" y="166"/>
                    <a:pt x="2481" y="172"/>
                    <a:pt x="2481" y="178"/>
                  </a:cubicBezTo>
                  <a:lnTo>
                    <a:pt x="2481" y="189"/>
                  </a:lnTo>
                  <a:cubicBezTo>
                    <a:pt x="2481" y="197"/>
                    <a:pt x="2479" y="205"/>
                    <a:pt x="2475" y="212"/>
                  </a:cubicBezTo>
                  <a:lnTo>
                    <a:pt x="2484" y="198"/>
                  </a:lnTo>
                  <a:lnTo>
                    <a:pt x="2478" y="180"/>
                  </a:lnTo>
                  <a:lnTo>
                    <a:pt x="2486" y="192"/>
                  </a:lnTo>
                  <a:lnTo>
                    <a:pt x="2503" y="211"/>
                  </a:lnTo>
                  <a:lnTo>
                    <a:pt x="2527" y="239"/>
                  </a:lnTo>
                  <a:lnTo>
                    <a:pt x="2537" y="249"/>
                  </a:lnTo>
                  <a:lnTo>
                    <a:pt x="2541" y="252"/>
                  </a:lnTo>
                  <a:lnTo>
                    <a:pt x="2561" y="255"/>
                  </a:lnTo>
                  <a:lnTo>
                    <a:pt x="2580" y="255"/>
                  </a:lnTo>
                  <a:cubicBezTo>
                    <a:pt x="2590" y="256"/>
                    <a:pt x="2600" y="260"/>
                    <a:pt x="2607" y="267"/>
                  </a:cubicBezTo>
                  <a:lnTo>
                    <a:pt x="2612" y="272"/>
                  </a:lnTo>
                  <a:cubicBezTo>
                    <a:pt x="2619" y="280"/>
                    <a:pt x="2623" y="290"/>
                    <a:pt x="2623" y="300"/>
                  </a:cubicBezTo>
                  <a:lnTo>
                    <a:pt x="2623" y="303"/>
                  </a:lnTo>
                  <a:lnTo>
                    <a:pt x="2621" y="290"/>
                  </a:lnTo>
                  <a:lnTo>
                    <a:pt x="2598" y="272"/>
                  </a:lnTo>
                  <a:lnTo>
                    <a:pt x="2585" y="275"/>
                  </a:lnTo>
                  <a:lnTo>
                    <a:pt x="2592" y="272"/>
                  </a:lnTo>
                  <a:lnTo>
                    <a:pt x="2605" y="267"/>
                  </a:lnTo>
                  <a:cubicBezTo>
                    <a:pt x="2609" y="265"/>
                    <a:pt x="2613" y="264"/>
                    <a:pt x="2616" y="264"/>
                  </a:cubicBezTo>
                  <a:lnTo>
                    <a:pt x="2626" y="263"/>
                  </a:lnTo>
                  <a:cubicBezTo>
                    <a:pt x="2637" y="262"/>
                    <a:pt x="2647" y="265"/>
                    <a:pt x="2655" y="271"/>
                  </a:cubicBezTo>
                  <a:lnTo>
                    <a:pt x="2670" y="283"/>
                  </a:lnTo>
                  <a:cubicBezTo>
                    <a:pt x="2672" y="285"/>
                    <a:pt x="2674" y="287"/>
                    <a:pt x="2676" y="288"/>
                  </a:cubicBezTo>
                  <a:lnTo>
                    <a:pt x="2684" y="298"/>
                  </a:lnTo>
                  <a:lnTo>
                    <a:pt x="2679" y="295"/>
                  </a:lnTo>
                  <a:lnTo>
                    <a:pt x="2663" y="297"/>
                  </a:lnTo>
                  <a:lnTo>
                    <a:pt x="2660" y="300"/>
                  </a:lnTo>
                  <a:lnTo>
                    <a:pt x="2665" y="292"/>
                  </a:lnTo>
                  <a:lnTo>
                    <a:pt x="2682" y="267"/>
                  </a:lnTo>
                  <a:cubicBezTo>
                    <a:pt x="2686" y="261"/>
                    <a:pt x="2691" y="257"/>
                    <a:pt x="2697" y="254"/>
                  </a:cubicBezTo>
                  <a:lnTo>
                    <a:pt x="2724" y="240"/>
                  </a:lnTo>
                  <a:lnTo>
                    <a:pt x="2740" y="233"/>
                  </a:lnTo>
                  <a:lnTo>
                    <a:pt x="2744" y="225"/>
                  </a:lnTo>
                  <a:lnTo>
                    <a:pt x="2755" y="208"/>
                  </a:lnTo>
                  <a:cubicBezTo>
                    <a:pt x="2760" y="201"/>
                    <a:pt x="2768" y="195"/>
                    <a:pt x="2777" y="192"/>
                  </a:cubicBezTo>
                  <a:lnTo>
                    <a:pt x="2800" y="185"/>
                  </a:lnTo>
                  <a:cubicBezTo>
                    <a:pt x="2804" y="184"/>
                    <a:pt x="2809" y="183"/>
                    <a:pt x="2813" y="183"/>
                  </a:cubicBezTo>
                  <a:lnTo>
                    <a:pt x="2838" y="184"/>
                  </a:lnTo>
                  <a:cubicBezTo>
                    <a:pt x="2843" y="185"/>
                    <a:pt x="2847" y="186"/>
                    <a:pt x="2852" y="188"/>
                  </a:cubicBezTo>
                  <a:lnTo>
                    <a:pt x="2876" y="198"/>
                  </a:lnTo>
                  <a:cubicBezTo>
                    <a:pt x="2878" y="199"/>
                    <a:pt x="2881" y="200"/>
                    <a:pt x="2883" y="202"/>
                  </a:cubicBezTo>
                  <a:lnTo>
                    <a:pt x="2906" y="218"/>
                  </a:lnTo>
                  <a:lnTo>
                    <a:pt x="2931" y="235"/>
                  </a:lnTo>
                  <a:lnTo>
                    <a:pt x="2947" y="245"/>
                  </a:lnTo>
                  <a:lnTo>
                    <a:pt x="2964" y="248"/>
                  </a:lnTo>
                  <a:lnTo>
                    <a:pt x="2978" y="250"/>
                  </a:lnTo>
                  <a:lnTo>
                    <a:pt x="2961" y="249"/>
                  </a:lnTo>
                  <a:lnTo>
                    <a:pt x="2951" y="259"/>
                  </a:lnTo>
                  <a:cubicBezTo>
                    <a:pt x="2965" y="245"/>
                    <a:pt x="2987" y="244"/>
                    <a:pt x="3003" y="255"/>
                  </a:cubicBezTo>
                  <a:cubicBezTo>
                    <a:pt x="3019" y="266"/>
                    <a:pt x="3024" y="288"/>
                    <a:pt x="3015" y="305"/>
                  </a:cubicBezTo>
                  <a:lnTo>
                    <a:pt x="3014" y="307"/>
                  </a:lnTo>
                  <a:lnTo>
                    <a:pt x="3011" y="317"/>
                  </a:lnTo>
                  <a:lnTo>
                    <a:pt x="3000" y="341"/>
                  </a:lnTo>
                  <a:lnTo>
                    <a:pt x="2986" y="373"/>
                  </a:lnTo>
                  <a:lnTo>
                    <a:pt x="2969" y="412"/>
                  </a:lnTo>
                  <a:lnTo>
                    <a:pt x="2953" y="459"/>
                  </a:lnTo>
                  <a:lnTo>
                    <a:pt x="2945" y="487"/>
                  </a:lnTo>
                  <a:lnTo>
                    <a:pt x="2934" y="523"/>
                  </a:lnTo>
                  <a:lnTo>
                    <a:pt x="2912" y="602"/>
                  </a:lnTo>
                  <a:lnTo>
                    <a:pt x="2890" y="679"/>
                  </a:lnTo>
                  <a:lnTo>
                    <a:pt x="2882" y="710"/>
                  </a:lnTo>
                  <a:lnTo>
                    <a:pt x="2875" y="736"/>
                  </a:lnTo>
                  <a:lnTo>
                    <a:pt x="2870" y="753"/>
                  </a:lnTo>
                  <a:lnTo>
                    <a:pt x="2867" y="763"/>
                  </a:lnTo>
                  <a:lnTo>
                    <a:pt x="2865" y="769"/>
                  </a:lnTo>
                  <a:lnTo>
                    <a:pt x="2865" y="764"/>
                  </a:lnTo>
                  <a:cubicBezTo>
                    <a:pt x="2865" y="787"/>
                    <a:pt x="2848" y="804"/>
                    <a:pt x="2825" y="804"/>
                  </a:cubicBezTo>
                  <a:cubicBezTo>
                    <a:pt x="2803" y="804"/>
                    <a:pt x="2785" y="787"/>
                    <a:pt x="2785" y="764"/>
                  </a:cubicBezTo>
                  <a:lnTo>
                    <a:pt x="2785" y="763"/>
                  </a:lnTo>
                  <a:lnTo>
                    <a:pt x="2812" y="763"/>
                  </a:lnTo>
                  <a:lnTo>
                    <a:pt x="2812" y="764"/>
                  </a:lnTo>
                  <a:cubicBezTo>
                    <a:pt x="2812" y="772"/>
                    <a:pt x="2818" y="778"/>
                    <a:pt x="2825" y="778"/>
                  </a:cubicBezTo>
                  <a:cubicBezTo>
                    <a:pt x="2833" y="778"/>
                    <a:pt x="2839" y="772"/>
                    <a:pt x="2839" y="764"/>
                  </a:cubicBezTo>
                  <a:lnTo>
                    <a:pt x="2839" y="765"/>
                  </a:lnTo>
                  <a:lnTo>
                    <a:pt x="2841" y="756"/>
                  </a:lnTo>
                  <a:lnTo>
                    <a:pt x="2844" y="745"/>
                  </a:lnTo>
                  <a:lnTo>
                    <a:pt x="2849" y="728"/>
                  </a:lnTo>
                  <a:lnTo>
                    <a:pt x="2856" y="704"/>
                  </a:lnTo>
                  <a:lnTo>
                    <a:pt x="2864" y="672"/>
                  </a:lnTo>
                  <a:lnTo>
                    <a:pt x="2886" y="595"/>
                  </a:lnTo>
                  <a:lnTo>
                    <a:pt x="2908" y="515"/>
                  </a:lnTo>
                  <a:lnTo>
                    <a:pt x="2919" y="479"/>
                  </a:lnTo>
                  <a:lnTo>
                    <a:pt x="2928" y="450"/>
                  </a:lnTo>
                  <a:lnTo>
                    <a:pt x="2945" y="402"/>
                  </a:lnTo>
                  <a:lnTo>
                    <a:pt x="2962" y="363"/>
                  </a:lnTo>
                  <a:lnTo>
                    <a:pt x="2976" y="331"/>
                  </a:lnTo>
                  <a:lnTo>
                    <a:pt x="2986" y="307"/>
                  </a:lnTo>
                  <a:lnTo>
                    <a:pt x="2990" y="295"/>
                  </a:lnTo>
                  <a:lnTo>
                    <a:pt x="2991" y="293"/>
                  </a:lnTo>
                  <a:cubicBezTo>
                    <a:pt x="2994" y="288"/>
                    <a:pt x="2993" y="280"/>
                    <a:pt x="2987" y="277"/>
                  </a:cubicBezTo>
                  <a:cubicBezTo>
                    <a:pt x="2982" y="273"/>
                    <a:pt x="2975" y="273"/>
                    <a:pt x="2970" y="278"/>
                  </a:cubicBezTo>
                  <a:lnTo>
                    <a:pt x="2972" y="276"/>
                  </a:lnTo>
                  <a:lnTo>
                    <a:pt x="2975" y="276"/>
                  </a:lnTo>
                  <a:lnTo>
                    <a:pt x="2958" y="274"/>
                  </a:lnTo>
                  <a:lnTo>
                    <a:pt x="2937" y="270"/>
                  </a:lnTo>
                  <a:lnTo>
                    <a:pt x="2915" y="257"/>
                  </a:lnTo>
                  <a:lnTo>
                    <a:pt x="2891" y="240"/>
                  </a:lnTo>
                  <a:lnTo>
                    <a:pt x="2868" y="224"/>
                  </a:lnTo>
                  <a:cubicBezTo>
                    <a:pt x="2867" y="223"/>
                    <a:pt x="2866" y="223"/>
                    <a:pt x="2866" y="222"/>
                  </a:cubicBezTo>
                  <a:lnTo>
                    <a:pt x="2842" y="212"/>
                  </a:lnTo>
                  <a:cubicBezTo>
                    <a:pt x="2840" y="212"/>
                    <a:pt x="2839" y="211"/>
                    <a:pt x="2837" y="211"/>
                  </a:cubicBezTo>
                  <a:lnTo>
                    <a:pt x="2812" y="210"/>
                  </a:lnTo>
                  <a:cubicBezTo>
                    <a:pt x="2811" y="210"/>
                    <a:pt x="2809" y="210"/>
                    <a:pt x="2808" y="211"/>
                  </a:cubicBezTo>
                  <a:lnTo>
                    <a:pt x="2785" y="218"/>
                  </a:lnTo>
                  <a:cubicBezTo>
                    <a:pt x="2782" y="219"/>
                    <a:pt x="2779" y="221"/>
                    <a:pt x="2777" y="223"/>
                  </a:cubicBezTo>
                  <a:lnTo>
                    <a:pt x="2767" y="239"/>
                  </a:lnTo>
                  <a:lnTo>
                    <a:pt x="2758" y="253"/>
                  </a:lnTo>
                  <a:lnTo>
                    <a:pt x="2736" y="264"/>
                  </a:lnTo>
                  <a:lnTo>
                    <a:pt x="2709" y="278"/>
                  </a:lnTo>
                  <a:cubicBezTo>
                    <a:pt x="2707" y="279"/>
                    <a:pt x="2706" y="280"/>
                    <a:pt x="2704" y="282"/>
                  </a:cubicBezTo>
                  <a:lnTo>
                    <a:pt x="2687" y="307"/>
                  </a:lnTo>
                  <a:lnTo>
                    <a:pt x="2680" y="318"/>
                  </a:lnTo>
                  <a:lnTo>
                    <a:pt x="2677" y="322"/>
                  </a:lnTo>
                  <a:lnTo>
                    <a:pt x="2673" y="323"/>
                  </a:lnTo>
                  <a:lnTo>
                    <a:pt x="2666" y="318"/>
                  </a:lnTo>
                  <a:lnTo>
                    <a:pt x="2656" y="306"/>
                  </a:lnTo>
                  <a:cubicBezTo>
                    <a:pt x="2655" y="305"/>
                    <a:pt x="2654" y="305"/>
                    <a:pt x="2654" y="304"/>
                  </a:cubicBezTo>
                  <a:lnTo>
                    <a:pt x="2639" y="292"/>
                  </a:lnTo>
                  <a:cubicBezTo>
                    <a:pt x="2636" y="290"/>
                    <a:pt x="2633" y="289"/>
                    <a:pt x="2629" y="289"/>
                  </a:cubicBezTo>
                  <a:lnTo>
                    <a:pt x="2619" y="290"/>
                  </a:lnTo>
                  <a:cubicBezTo>
                    <a:pt x="2618" y="290"/>
                    <a:pt x="2617" y="291"/>
                    <a:pt x="2615" y="291"/>
                  </a:cubicBezTo>
                  <a:lnTo>
                    <a:pt x="2603" y="296"/>
                  </a:lnTo>
                  <a:lnTo>
                    <a:pt x="2593" y="301"/>
                  </a:lnTo>
                  <a:lnTo>
                    <a:pt x="2592" y="301"/>
                  </a:lnTo>
                  <a:lnTo>
                    <a:pt x="2597" y="305"/>
                  </a:lnTo>
                  <a:lnTo>
                    <a:pt x="2597" y="305"/>
                  </a:lnTo>
                  <a:lnTo>
                    <a:pt x="2597" y="300"/>
                  </a:lnTo>
                  <a:cubicBezTo>
                    <a:pt x="2597" y="297"/>
                    <a:pt x="2595" y="294"/>
                    <a:pt x="2593" y="291"/>
                  </a:cubicBezTo>
                  <a:lnTo>
                    <a:pt x="2588" y="286"/>
                  </a:lnTo>
                  <a:cubicBezTo>
                    <a:pt x="2586" y="284"/>
                    <a:pt x="2582" y="282"/>
                    <a:pt x="2579" y="282"/>
                  </a:cubicBezTo>
                  <a:lnTo>
                    <a:pt x="2557" y="281"/>
                  </a:lnTo>
                  <a:lnTo>
                    <a:pt x="2531" y="277"/>
                  </a:lnTo>
                  <a:lnTo>
                    <a:pt x="2520" y="269"/>
                  </a:lnTo>
                  <a:lnTo>
                    <a:pt x="2507" y="257"/>
                  </a:lnTo>
                  <a:lnTo>
                    <a:pt x="2483" y="229"/>
                  </a:lnTo>
                  <a:lnTo>
                    <a:pt x="2464" y="208"/>
                  </a:lnTo>
                  <a:lnTo>
                    <a:pt x="2453" y="192"/>
                  </a:lnTo>
                  <a:lnTo>
                    <a:pt x="2454" y="194"/>
                  </a:lnTo>
                  <a:lnTo>
                    <a:pt x="2453" y="197"/>
                  </a:lnTo>
                  <a:cubicBezTo>
                    <a:pt x="2454" y="195"/>
                    <a:pt x="2455" y="192"/>
                    <a:pt x="2455" y="189"/>
                  </a:cubicBezTo>
                  <a:lnTo>
                    <a:pt x="2455" y="178"/>
                  </a:lnTo>
                  <a:cubicBezTo>
                    <a:pt x="2455" y="176"/>
                    <a:pt x="2454" y="174"/>
                    <a:pt x="2453" y="173"/>
                  </a:cubicBezTo>
                  <a:lnTo>
                    <a:pt x="2448" y="161"/>
                  </a:lnTo>
                  <a:lnTo>
                    <a:pt x="2441" y="145"/>
                  </a:lnTo>
                  <a:cubicBezTo>
                    <a:pt x="2440" y="145"/>
                    <a:pt x="2440" y="144"/>
                    <a:pt x="2440" y="143"/>
                  </a:cubicBezTo>
                  <a:lnTo>
                    <a:pt x="2421" y="113"/>
                  </a:lnTo>
                  <a:cubicBezTo>
                    <a:pt x="2420" y="112"/>
                    <a:pt x="2419" y="111"/>
                    <a:pt x="2417" y="110"/>
                  </a:cubicBezTo>
                  <a:lnTo>
                    <a:pt x="2390" y="90"/>
                  </a:lnTo>
                  <a:cubicBezTo>
                    <a:pt x="2390" y="89"/>
                    <a:pt x="2389" y="89"/>
                    <a:pt x="2388" y="89"/>
                  </a:cubicBezTo>
                  <a:lnTo>
                    <a:pt x="2361" y="75"/>
                  </a:lnTo>
                  <a:lnTo>
                    <a:pt x="2350" y="71"/>
                  </a:lnTo>
                  <a:lnTo>
                    <a:pt x="2346" y="70"/>
                  </a:lnTo>
                  <a:lnTo>
                    <a:pt x="2340" y="68"/>
                  </a:lnTo>
                  <a:lnTo>
                    <a:pt x="2317" y="57"/>
                  </a:lnTo>
                  <a:cubicBezTo>
                    <a:pt x="2316" y="57"/>
                    <a:pt x="2316" y="57"/>
                    <a:pt x="2315" y="57"/>
                  </a:cubicBezTo>
                  <a:lnTo>
                    <a:pt x="2287" y="49"/>
                  </a:lnTo>
                  <a:cubicBezTo>
                    <a:pt x="2285" y="48"/>
                    <a:pt x="2282" y="48"/>
                    <a:pt x="2279" y="49"/>
                  </a:cubicBezTo>
                  <a:lnTo>
                    <a:pt x="2267" y="53"/>
                  </a:lnTo>
                  <a:cubicBezTo>
                    <a:pt x="2266" y="53"/>
                    <a:pt x="2266" y="53"/>
                    <a:pt x="2265" y="54"/>
                  </a:cubicBezTo>
                  <a:lnTo>
                    <a:pt x="2253" y="61"/>
                  </a:lnTo>
                  <a:lnTo>
                    <a:pt x="2243" y="66"/>
                  </a:lnTo>
                  <a:lnTo>
                    <a:pt x="2239" y="67"/>
                  </a:lnTo>
                  <a:lnTo>
                    <a:pt x="2232" y="63"/>
                  </a:lnTo>
                  <a:lnTo>
                    <a:pt x="2222" y="51"/>
                  </a:lnTo>
                  <a:cubicBezTo>
                    <a:pt x="2221" y="50"/>
                    <a:pt x="2221" y="50"/>
                    <a:pt x="2220" y="49"/>
                  </a:cubicBezTo>
                  <a:lnTo>
                    <a:pt x="2206" y="37"/>
                  </a:lnTo>
                  <a:cubicBezTo>
                    <a:pt x="2205" y="36"/>
                    <a:pt x="2204" y="36"/>
                    <a:pt x="2203" y="35"/>
                  </a:cubicBezTo>
                  <a:lnTo>
                    <a:pt x="2189" y="29"/>
                  </a:lnTo>
                  <a:cubicBezTo>
                    <a:pt x="2186" y="28"/>
                    <a:pt x="2183" y="28"/>
                    <a:pt x="2180" y="29"/>
                  </a:cubicBezTo>
                  <a:lnTo>
                    <a:pt x="2163" y="34"/>
                  </a:lnTo>
                  <a:cubicBezTo>
                    <a:pt x="2162" y="34"/>
                    <a:pt x="2161" y="34"/>
                    <a:pt x="2160" y="35"/>
                  </a:cubicBezTo>
                  <a:lnTo>
                    <a:pt x="2141" y="47"/>
                  </a:lnTo>
                  <a:lnTo>
                    <a:pt x="2123" y="59"/>
                  </a:lnTo>
                  <a:lnTo>
                    <a:pt x="2109" y="69"/>
                  </a:lnTo>
                  <a:lnTo>
                    <a:pt x="2102" y="72"/>
                  </a:lnTo>
                  <a:lnTo>
                    <a:pt x="2089" y="79"/>
                  </a:lnTo>
                  <a:lnTo>
                    <a:pt x="2073" y="88"/>
                  </a:lnTo>
                  <a:lnTo>
                    <a:pt x="2060" y="96"/>
                  </a:lnTo>
                  <a:cubicBezTo>
                    <a:pt x="2059" y="97"/>
                    <a:pt x="2059" y="97"/>
                    <a:pt x="2058" y="98"/>
                  </a:cubicBezTo>
                  <a:lnTo>
                    <a:pt x="2043" y="114"/>
                  </a:lnTo>
                  <a:lnTo>
                    <a:pt x="2037" y="121"/>
                  </a:lnTo>
                  <a:lnTo>
                    <a:pt x="2028" y="128"/>
                  </a:lnTo>
                  <a:lnTo>
                    <a:pt x="2014" y="136"/>
                  </a:lnTo>
                  <a:lnTo>
                    <a:pt x="1993" y="146"/>
                  </a:lnTo>
                  <a:lnTo>
                    <a:pt x="1971" y="156"/>
                  </a:lnTo>
                  <a:lnTo>
                    <a:pt x="1954" y="167"/>
                  </a:lnTo>
                  <a:cubicBezTo>
                    <a:pt x="1952" y="168"/>
                    <a:pt x="1951" y="170"/>
                    <a:pt x="1950" y="172"/>
                  </a:cubicBezTo>
                  <a:lnTo>
                    <a:pt x="1932" y="202"/>
                  </a:lnTo>
                  <a:lnTo>
                    <a:pt x="1927" y="214"/>
                  </a:lnTo>
                  <a:lnTo>
                    <a:pt x="1924" y="217"/>
                  </a:lnTo>
                  <a:lnTo>
                    <a:pt x="1922" y="217"/>
                  </a:lnTo>
                  <a:lnTo>
                    <a:pt x="1913" y="213"/>
                  </a:lnTo>
                  <a:lnTo>
                    <a:pt x="1900" y="206"/>
                  </a:lnTo>
                  <a:cubicBezTo>
                    <a:pt x="1898" y="205"/>
                    <a:pt x="1896" y="204"/>
                    <a:pt x="1893" y="204"/>
                  </a:cubicBezTo>
                  <a:lnTo>
                    <a:pt x="1882" y="204"/>
                  </a:lnTo>
                  <a:cubicBezTo>
                    <a:pt x="1878" y="204"/>
                    <a:pt x="1874" y="206"/>
                    <a:pt x="1871" y="210"/>
                  </a:cubicBezTo>
                  <a:lnTo>
                    <a:pt x="1865" y="219"/>
                  </a:lnTo>
                  <a:cubicBezTo>
                    <a:pt x="1865" y="220"/>
                    <a:pt x="1864" y="222"/>
                    <a:pt x="1864" y="223"/>
                  </a:cubicBezTo>
                  <a:lnTo>
                    <a:pt x="1860" y="238"/>
                  </a:lnTo>
                  <a:lnTo>
                    <a:pt x="1856" y="252"/>
                  </a:lnTo>
                  <a:lnTo>
                    <a:pt x="1851" y="260"/>
                  </a:lnTo>
                  <a:lnTo>
                    <a:pt x="1830" y="273"/>
                  </a:lnTo>
                  <a:lnTo>
                    <a:pt x="1804" y="283"/>
                  </a:lnTo>
                  <a:cubicBezTo>
                    <a:pt x="1804" y="283"/>
                    <a:pt x="1803" y="284"/>
                    <a:pt x="1802" y="284"/>
                  </a:cubicBezTo>
                  <a:lnTo>
                    <a:pt x="1784" y="296"/>
                  </a:lnTo>
                  <a:cubicBezTo>
                    <a:pt x="1783" y="297"/>
                    <a:pt x="1783" y="297"/>
                    <a:pt x="1782" y="298"/>
                  </a:cubicBezTo>
                  <a:lnTo>
                    <a:pt x="1768" y="312"/>
                  </a:lnTo>
                  <a:cubicBezTo>
                    <a:pt x="1767" y="313"/>
                    <a:pt x="1766" y="314"/>
                    <a:pt x="1766" y="316"/>
                  </a:cubicBezTo>
                  <a:lnTo>
                    <a:pt x="1754" y="338"/>
                  </a:lnTo>
                  <a:lnTo>
                    <a:pt x="1745" y="361"/>
                  </a:lnTo>
                  <a:lnTo>
                    <a:pt x="1719" y="406"/>
                  </a:lnTo>
                  <a:cubicBezTo>
                    <a:pt x="1718" y="407"/>
                    <a:pt x="1718" y="408"/>
                    <a:pt x="1717" y="410"/>
                  </a:cubicBezTo>
                  <a:lnTo>
                    <a:pt x="1711" y="442"/>
                  </a:lnTo>
                  <a:lnTo>
                    <a:pt x="1707" y="456"/>
                  </a:lnTo>
                  <a:lnTo>
                    <a:pt x="1705" y="461"/>
                  </a:lnTo>
                  <a:lnTo>
                    <a:pt x="1705" y="461"/>
                  </a:lnTo>
                  <a:lnTo>
                    <a:pt x="1698" y="459"/>
                  </a:lnTo>
                  <a:lnTo>
                    <a:pt x="1686" y="456"/>
                  </a:lnTo>
                  <a:cubicBezTo>
                    <a:pt x="1683" y="455"/>
                    <a:pt x="1681" y="455"/>
                    <a:pt x="1679" y="456"/>
                  </a:cubicBezTo>
                  <a:lnTo>
                    <a:pt x="1669" y="459"/>
                  </a:lnTo>
                  <a:cubicBezTo>
                    <a:pt x="1666" y="459"/>
                    <a:pt x="1664" y="461"/>
                    <a:pt x="1663" y="463"/>
                  </a:cubicBezTo>
                  <a:lnTo>
                    <a:pt x="1654" y="473"/>
                  </a:lnTo>
                  <a:cubicBezTo>
                    <a:pt x="1653" y="474"/>
                    <a:pt x="1652" y="475"/>
                    <a:pt x="1651" y="476"/>
                  </a:cubicBezTo>
                  <a:lnTo>
                    <a:pt x="1644" y="492"/>
                  </a:lnTo>
                  <a:lnTo>
                    <a:pt x="1638" y="505"/>
                  </a:lnTo>
                  <a:lnTo>
                    <a:pt x="1634" y="511"/>
                  </a:lnTo>
                  <a:lnTo>
                    <a:pt x="1616" y="513"/>
                  </a:lnTo>
                  <a:lnTo>
                    <a:pt x="1593" y="510"/>
                  </a:lnTo>
                  <a:lnTo>
                    <a:pt x="1587" y="510"/>
                  </a:lnTo>
                  <a:lnTo>
                    <a:pt x="1579" y="510"/>
                  </a:lnTo>
                  <a:lnTo>
                    <a:pt x="1573" y="509"/>
                  </a:lnTo>
                  <a:lnTo>
                    <a:pt x="1563" y="505"/>
                  </a:lnTo>
                  <a:lnTo>
                    <a:pt x="1542" y="494"/>
                  </a:lnTo>
                  <a:lnTo>
                    <a:pt x="1531" y="488"/>
                  </a:lnTo>
                  <a:cubicBezTo>
                    <a:pt x="1530" y="487"/>
                    <a:pt x="1528" y="487"/>
                    <a:pt x="1527" y="486"/>
                  </a:cubicBezTo>
                  <a:lnTo>
                    <a:pt x="1517" y="484"/>
                  </a:lnTo>
                  <a:cubicBezTo>
                    <a:pt x="1514" y="484"/>
                    <a:pt x="1512" y="484"/>
                    <a:pt x="1509" y="485"/>
                  </a:cubicBezTo>
                  <a:lnTo>
                    <a:pt x="1500" y="489"/>
                  </a:lnTo>
                  <a:cubicBezTo>
                    <a:pt x="1499" y="490"/>
                    <a:pt x="1497" y="491"/>
                    <a:pt x="1496" y="492"/>
                  </a:cubicBezTo>
                  <a:lnTo>
                    <a:pt x="1488" y="500"/>
                  </a:lnTo>
                  <a:lnTo>
                    <a:pt x="1481" y="507"/>
                  </a:lnTo>
                  <a:lnTo>
                    <a:pt x="1478" y="510"/>
                  </a:lnTo>
                  <a:lnTo>
                    <a:pt x="1480" y="510"/>
                  </a:lnTo>
                  <a:lnTo>
                    <a:pt x="1475" y="508"/>
                  </a:lnTo>
                  <a:lnTo>
                    <a:pt x="1469" y="505"/>
                  </a:lnTo>
                  <a:cubicBezTo>
                    <a:pt x="1468" y="504"/>
                    <a:pt x="1466" y="503"/>
                    <a:pt x="1463" y="503"/>
                  </a:cubicBezTo>
                  <a:lnTo>
                    <a:pt x="1456" y="503"/>
                  </a:lnTo>
                  <a:cubicBezTo>
                    <a:pt x="1454" y="503"/>
                    <a:pt x="1451" y="504"/>
                    <a:pt x="1449" y="505"/>
                  </a:cubicBezTo>
                  <a:lnTo>
                    <a:pt x="1426" y="521"/>
                  </a:lnTo>
                  <a:lnTo>
                    <a:pt x="1406" y="539"/>
                  </a:lnTo>
                  <a:lnTo>
                    <a:pt x="1396" y="545"/>
                  </a:lnTo>
                  <a:lnTo>
                    <a:pt x="1385" y="551"/>
                  </a:lnTo>
                  <a:lnTo>
                    <a:pt x="1381" y="554"/>
                  </a:lnTo>
                  <a:lnTo>
                    <a:pt x="1375" y="559"/>
                  </a:lnTo>
                  <a:lnTo>
                    <a:pt x="1356" y="569"/>
                  </a:lnTo>
                  <a:lnTo>
                    <a:pt x="1342" y="573"/>
                  </a:lnTo>
                  <a:lnTo>
                    <a:pt x="1324" y="575"/>
                  </a:lnTo>
                  <a:lnTo>
                    <a:pt x="1291" y="576"/>
                  </a:lnTo>
                  <a:lnTo>
                    <a:pt x="1259" y="575"/>
                  </a:lnTo>
                  <a:lnTo>
                    <a:pt x="1244" y="568"/>
                  </a:lnTo>
                  <a:lnTo>
                    <a:pt x="1236" y="563"/>
                  </a:lnTo>
                  <a:cubicBezTo>
                    <a:pt x="1233" y="562"/>
                    <a:pt x="1230" y="561"/>
                    <a:pt x="1227" y="561"/>
                  </a:cubicBezTo>
                  <a:lnTo>
                    <a:pt x="1218" y="562"/>
                  </a:lnTo>
                  <a:cubicBezTo>
                    <a:pt x="1215" y="562"/>
                    <a:pt x="1213" y="564"/>
                    <a:pt x="1211" y="565"/>
                  </a:cubicBezTo>
                  <a:lnTo>
                    <a:pt x="1200" y="574"/>
                  </a:lnTo>
                  <a:cubicBezTo>
                    <a:pt x="1199" y="575"/>
                    <a:pt x="1198" y="576"/>
                    <a:pt x="1198" y="577"/>
                  </a:cubicBezTo>
                  <a:lnTo>
                    <a:pt x="1188" y="590"/>
                  </a:lnTo>
                  <a:lnTo>
                    <a:pt x="1176" y="603"/>
                  </a:lnTo>
                  <a:lnTo>
                    <a:pt x="1170" y="606"/>
                  </a:lnTo>
                  <a:lnTo>
                    <a:pt x="1162" y="604"/>
                  </a:lnTo>
                  <a:lnTo>
                    <a:pt x="1147" y="594"/>
                  </a:lnTo>
                  <a:lnTo>
                    <a:pt x="1130" y="583"/>
                  </a:lnTo>
                  <a:cubicBezTo>
                    <a:pt x="1129" y="583"/>
                    <a:pt x="1128" y="583"/>
                    <a:pt x="1128" y="582"/>
                  </a:cubicBezTo>
                  <a:lnTo>
                    <a:pt x="1114" y="576"/>
                  </a:lnTo>
                  <a:cubicBezTo>
                    <a:pt x="1111" y="575"/>
                    <a:pt x="1108" y="575"/>
                    <a:pt x="1105" y="576"/>
                  </a:cubicBezTo>
                  <a:lnTo>
                    <a:pt x="1095" y="579"/>
                  </a:lnTo>
                  <a:cubicBezTo>
                    <a:pt x="1093" y="579"/>
                    <a:pt x="1091" y="580"/>
                    <a:pt x="1089" y="582"/>
                  </a:cubicBezTo>
                  <a:lnTo>
                    <a:pt x="1082" y="589"/>
                  </a:lnTo>
                  <a:lnTo>
                    <a:pt x="1068" y="604"/>
                  </a:lnTo>
                  <a:lnTo>
                    <a:pt x="1054" y="613"/>
                  </a:lnTo>
                  <a:lnTo>
                    <a:pt x="1034" y="621"/>
                  </a:lnTo>
                  <a:lnTo>
                    <a:pt x="1005" y="634"/>
                  </a:lnTo>
                  <a:lnTo>
                    <a:pt x="972" y="647"/>
                  </a:lnTo>
                  <a:lnTo>
                    <a:pt x="966" y="649"/>
                  </a:lnTo>
                  <a:lnTo>
                    <a:pt x="954" y="654"/>
                  </a:lnTo>
                  <a:lnTo>
                    <a:pt x="924" y="667"/>
                  </a:lnTo>
                  <a:lnTo>
                    <a:pt x="898" y="679"/>
                  </a:lnTo>
                  <a:lnTo>
                    <a:pt x="877" y="684"/>
                  </a:lnTo>
                  <a:lnTo>
                    <a:pt x="860" y="678"/>
                  </a:lnTo>
                  <a:lnTo>
                    <a:pt x="841" y="668"/>
                  </a:lnTo>
                  <a:cubicBezTo>
                    <a:pt x="840" y="667"/>
                    <a:pt x="839" y="667"/>
                    <a:pt x="839" y="667"/>
                  </a:cubicBezTo>
                  <a:lnTo>
                    <a:pt x="821" y="661"/>
                  </a:lnTo>
                  <a:lnTo>
                    <a:pt x="804" y="655"/>
                  </a:lnTo>
                  <a:lnTo>
                    <a:pt x="784" y="637"/>
                  </a:lnTo>
                  <a:lnTo>
                    <a:pt x="773" y="628"/>
                  </a:lnTo>
                  <a:cubicBezTo>
                    <a:pt x="772" y="628"/>
                    <a:pt x="772" y="627"/>
                    <a:pt x="771" y="627"/>
                  </a:cubicBezTo>
                  <a:lnTo>
                    <a:pt x="762" y="622"/>
                  </a:lnTo>
                  <a:cubicBezTo>
                    <a:pt x="759" y="620"/>
                    <a:pt x="756" y="620"/>
                    <a:pt x="752" y="621"/>
                  </a:cubicBezTo>
                  <a:lnTo>
                    <a:pt x="748" y="622"/>
                  </a:lnTo>
                  <a:cubicBezTo>
                    <a:pt x="742" y="623"/>
                    <a:pt x="738" y="628"/>
                    <a:pt x="738" y="634"/>
                  </a:cubicBezTo>
                  <a:lnTo>
                    <a:pt x="738" y="639"/>
                  </a:lnTo>
                  <a:lnTo>
                    <a:pt x="738" y="641"/>
                  </a:lnTo>
                  <a:lnTo>
                    <a:pt x="736" y="643"/>
                  </a:lnTo>
                  <a:lnTo>
                    <a:pt x="725" y="648"/>
                  </a:lnTo>
                  <a:lnTo>
                    <a:pt x="707" y="657"/>
                  </a:lnTo>
                  <a:lnTo>
                    <a:pt x="689" y="664"/>
                  </a:lnTo>
                  <a:lnTo>
                    <a:pt x="677" y="666"/>
                  </a:lnTo>
                  <a:lnTo>
                    <a:pt x="676" y="665"/>
                  </a:lnTo>
                  <a:lnTo>
                    <a:pt x="673" y="662"/>
                  </a:lnTo>
                  <a:lnTo>
                    <a:pt x="668" y="653"/>
                  </a:lnTo>
                  <a:cubicBezTo>
                    <a:pt x="668" y="652"/>
                    <a:pt x="667" y="651"/>
                    <a:pt x="666" y="650"/>
                  </a:cubicBezTo>
                  <a:lnTo>
                    <a:pt x="660" y="644"/>
                  </a:lnTo>
                  <a:cubicBezTo>
                    <a:pt x="658" y="642"/>
                    <a:pt x="654" y="640"/>
                    <a:pt x="651" y="640"/>
                  </a:cubicBezTo>
                  <a:lnTo>
                    <a:pt x="632" y="639"/>
                  </a:lnTo>
                  <a:lnTo>
                    <a:pt x="614" y="640"/>
                  </a:lnTo>
                  <a:lnTo>
                    <a:pt x="575" y="634"/>
                  </a:lnTo>
                  <a:lnTo>
                    <a:pt x="556" y="625"/>
                  </a:lnTo>
                  <a:lnTo>
                    <a:pt x="534" y="615"/>
                  </a:lnTo>
                  <a:lnTo>
                    <a:pt x="516" y="607"/>
                  </a:lnTo>
                  <a:cubicBezTo>
                    <a:pt x="515" y="607"/>
                    <a:pt x="515" y="607"/>
                    <a:pt x="514" y="607"/>
                  </a:cubicBezTo>
                  <a:lnTo>
                    <a:pt x="496" y="602"/>
                  </a:lnTo>
                  <a:cubicBezTo>
                    <a:pt x="495" y="601"/>
                    <a:pt x="494" y="601"/>
                    <a:pt x="493" y="601"/>
                  </a:cubicBezTo>
                  <a:lnTo>
                    <a:pt x="465" y="599"/>
                  </a:lnTo>
                  <a:lnTo>
                    <a:pt x="452" y="598"/>
                  </a:lnTo>
                  <a:lnTo>
                    <a:pt x="448" y="597"/>
                  </a:lnTo>
                  <a:lnTo>
                    <a:pt x="449" y="597"/>
                  </a:lnTo>
                  <a:lnTo>
                    <a:pt x="449" y="593"/>
                  </a:lnTo>
                  <a:lnTo>
                    <a:pt x="448" y="575"/>
                  </a:lnTo>
                  <a:cubicBezTo>
                    <a:pt x="448" y="572"/>
                    <a:pt x="446" y="569"/>
                    <a:pt x="445" y="567"/>
                  </a:cubicBezTo>
                  <a:lnTo>
                    <a:pt x="433" y="553"/>
                  </a:lnTo>
                  <a:cubicBezTo>
                    <a:pt x="432" y="552"/>
                    <a:pt x="431" y="552"/>
                    <a:pt x="431" y="551"/>
                  </a:cubicBezTo>
                  <a:lnTo>
                    <a:pt x="416" y="539"/>
                  </a:lnTo>
                  <a:lnTo>
                    <a:pt x="390" y="519"/>
                  </a:lnTo>
                  <a:lnTo>
                    <a:pt x="381" y="511"/>
                  </a:lnTo>
                  <a:cubicBezTo>
                    <a:pt x="381" y="511"/>
                    <a:pt x="380" y="511"/>
                    <a:pt x="380" y="510"/>
                  </a:cubicBezTo>
                  <a:lnTo>
                    <a:pt x="363" y="499"/>
                  </a:lnTo>
                  <a:cubicBezTo>
                    <a:pt x="362" y="499"/>
                    <a:pt x="360" y="498"/>
                    <a:pt x="359" y="498"/>
                  </a:cubicBezTo>
                  <a:lnTo>
                    <a:pt x="337" y="492"/>
                  </a:lnTo>
                  <a:cubicBezTo>
                    <a:pt x="336" y="491"/>
                    <a:pt x="335" y="491"/>
                    <a:pt x="334" y="491"/>
                  </a:cubicBezTo>
                  <a:lnTo>
                    <a:pt x="313" y="490"/>
                  </a:lnTo>
                  <a:cubicBezTo>
                    <a:pt x="309" y="490"/>
                    <a:pt x="306" y="491"/>
                    <a:pt x="303" y="494"/>
                  </a:cubicBezTo>
                  <a:lnTo>
                    <a:pt x="294" y="503"/>
                  </a:lnTo>
                  <a:cubicBezTo>
                    <a:pt x="293" y="504"/>
                    <a:pt x="292" y="505"/>
                    <a:pt x="292" y="506"/>
                  </a:cubicBezTo>
                  <a:lnTo>
                    <a:pt x="288" y="512"/>
                  </a:lnTo>
                  <a:lnTo>
                    <a:pt x="290" y="512"/>
                  </a:lnTo>
                  <a:lnTo>
                    <a:pt x="287" y="511"/>
                  </a:lnTo>
                  <a:lnTo>
                    <a:pt x="272" y="501"/>
                  </a:lnTo>
                  <a:lnTo>
                    <a:pt x="256" y="492"/>
                  </a:lnTo>
                  <a:cubicBezTo>
                    <a:pt x="252" y="489"/>
                    <a:pt x="247" y="490"/>
                    <a:pt x="243" y="492"/>
                  </a:cubicBezTo>
                  <a:lnTo>
                    <a:pt x="238" y="495"/>
                  </a:lnTo>
                  <a:cubicBezTo>
                    <a:pt x="236" y="496"/>
                    <a:pt x="234" y="498"/>
                    <a:pt x="233" y="500"/>
                  </a:cubicBezTo>
                  <a:lnTo>
                    <a:pt x="230" y="506"/>
                  </a:lnTo>
                  <a:lnTo>
                    <a:pt x="227" y="510"/>
                  </a:lnTo>
                  <a:lnTo>
                    <a:pt x="228" y="509"/>
                  </a:lnTo>
                  <a:lnTo>
                    <a:pt x="225" y="508"/>
                  </a:lnTo>
                  <a:lnTo>
                    <a:pt x="213" y="501"/>
                  </a:lnTo>
                  <a:lnTo>
                    <a:pt x="188" y="486"/>
                  </a:lnTo>
                  <a:lnTo>
                    <a:pt x="173" y="477"/>
                  </a:lnTo>
                  <a:cubicBezTo>
                    <a:pt x="172" y="477"/>
                    <a:pt x="172" y="476"/>
                    <a:pt x="171" y="476"/>
                  </a:cubicBezTo>
                  <a:lnTo>
                    <a:pt x="159" y="472"/>
                  </a:lnTo>
                  <a:cubicBezTo>
                    <a:pt x="155" y="471"/>
                    <a:pt x="151" y="471"/>
                    <a:pt x="148" y="473"/>
                  </a:cubicBezTo>
                  <a:lnTo>
                    <a:pt x="137" y="479"/>
                  </a:lnTo>
                  <a:lnTo>
                    <a:pt x="131" y="484"/>
                  </a:lnTo>
                  <a:lnTo>
                    <a:pt x="117" y="481"/>
                  </a:lnTo>
                  <a:lnTo>
                    <a:pt x="99" y="477"/>
                  </a:lnTo>
                  <a:cubicBezTo>
                    <a:pt x="93" y="476"/>
                    <a:pt x="86" y="480"/>
                    <a:pt x="84" y="487"/>
                  </a:cubicBezTo>
                  <a:lnTo>
                    <a:pt x="26" y="676"/>
                  </a:lnTo>
                  <a:lnTo>
                    <a:pt x="0" y="668"/>
                  </a:lnTo>
                  <a:close/>
                  <a:moveTo>
                    <a:pt x="51" y="683"/>
                  </a:moveTo>
                  <a:lnTo>
                    <a:pt x="106" y="506"/>
                  </a:lnTo>
                  <a:lnTo>
                    <a:pt x="112" y="507"/>
                  </a:lnTo>
                  <a:lnTo>
                    <a:pt x="131" y="511"/>
                  </a:lnTo>
                  <a:cubicBezTo>
                    <a:pt x="135" y="511"/>
                    <a:pt x="138" y="510"/>
                    <a:pt x="141" y="509"/>
                  </a:cubicBezTo>
                  <a:lnTo>
                    <a:pt x="152" y="502"/>
                  </a:lnTo>
                  <a:lnTo>
                    <a:pt x="156" y="499"/>
                  </a:lnTo>
                  <a:lnTo>
                    <a:pt x="161" y="501"/>
                  </a:lnTo>
                  <a:lnTo>
                    <a:pt x="175" y="509"/>
                  </a:lnTo>
                  <a:lnTo>
                    <a:pt x="198" y="524"/>
                  </a:lnTo>
                  <a:lnTo>
                    <a:pt x="212" y="531"/>
                  </a:lnTo>
                  <a:lnTo>
                    <a:pt x="224" y="536"/>
                  </a:lnTo>
                  <a:cubicBezTo>
                    <a:pt x="227" y="537"/>
                    <a:pt x="230" y="537"/>
                    <a:pt x="234" y="536"/>
                  </a:cubicBezTo>
                  <a:lnTo>
                    <a:pt x="241" y="533"/>
                  </a:lnTo>
                  <a:cubicBezTo>
                    <a:pt x="243" y="532"/>
                    <a:pt x="245" y="530"/>
                    <a:pt x="246" y="528"/>
                  </a:cubicBezTo>
                  <a:lnTo>
                    <a:pt x="251" y="521"/>
                  </a:lnTo>
                  <a:lnTo>
                    <a:pt x="254" y="516"/>
                  </a:lnTo>
                  <a:lnTo>
                    <a:pt x="250" y="519"/>
                  </a:lnTo>
                  <a:lnTo>
                    <a:pt x="259" y="524"/>
                  </a:lnTo>
                  <a:lnTo>
                    <a:pt x="274" y="534"/>
                  </a:lnTo>
                  <a:cubicBezTo>
                    <a:pt x="275" y="535"/>
                    <a:pt x="277" y="536"/>
                    <a:pt x="279" y="536"/>
                  </a:cubicBezTo>
                  <a:lnTo>
                    <a:pt x="288" y="538"/>
                  </a:lnTo>
                  <a:cubicBezTo>
                    <a:pt x="290" y="539"/>
                    <a:pt x="292" y="539"/>
                    <a:pt x="294" y="538"/>
                  </a:cubicBezTo>
                  <a:lnTo>
                    <a:pt x="301" y="536"/>
                  </a:lnTo>
                  <a:cubicBezTo>
                    <a:pt x="305" y="535"/>
                    <a:pt x="307" y="533"/>
                    <a:pt x="309" y="530"/>
                  </a:cubicBezTo>
                  <a:lnTo>
                    <a:pt x="314" y="521"/>
                  </a:lnTo>
                  <a:lnTo>
                    <a:pt x="318" y="517"/>
                  </a:lnTo>
                  <a:lnTo>
                    <a:pt x="331" y="518"/>
                  </a:lnTo>
                  <a:lnTo>
                    <a:pt x="350" y="523"/>
                  </a:lnTo>
                  <a:lnTo>
                    <a:pt x="364" y="532"/>
                  </a:lnTo>
                  <a:lnTo>
                    <a:pt x="373" y="539"/>
                  </a:lnTo>
                  <a:lnTo>
                    <a:pt x="399" y="560"/>
                  </a:lnTo>
                  <a:lnTo>
                    <a:pt x="413" y="571"/>
                  </a:lnTo>
                  <a:lnTo>
                    <a:pt x="421" y="581"/>
                  </a:lnTo>
                  <a:lnTo>
                    <a:pt x="422" y="594"/>
                  </a:lnTo>
                  <a:lnTo>
                    <a:pt x="422" y="601"/>
                  </a:lnTo>
                  <a:cubicBezTo>
                    <a:pt x="422" y="604"/>
                    <a:pt x="423" y="607"/>
                    <a:pt x="424" y="609"/>
                  </a:cubicBezTo>
                  <a:lnTo>
                    <a:pt x="428" y="615"/>
                  </a:lnTo>
                  <a:cubicBezTo>
                    <a:pt x="430" y="617"/>
                    <a:pt x="432" y="619"/>
                    <a:pt x="435" y="620"/>
                  </a:cubicBezTo>
                  <a:lnTo>
                    <a:pt x="445" y="624"/>
                  </a:lnTo>
                  <a:cubicBezTo>
                    <a:pt x="446" y="624"/>
                    <a:pt x="447" y="625"/>
                    <a:pt x="449" y="625"/>
                  </a:cubicBezTo>
                  <a:lnTo>
                    <a:pt x="464" y="626"/>
                  </a:lnTo>
                  <a:lnTo>
                    <a:pt x="490" y="628"/>
                  </a:lnTo>
                  <a:lnTo>
                    <a:pt x="506" y="632"/>
                  </a:lnTo>
                  <a:lnTo>
                    <a:pt x="523" y="640"/>
                  </a:lnTo>
                  <a:lnTo>
                    <a:pt x="545" y="650"/>
                  </a:lnTo>
                  <a:lnTo>
                    <a:pt x="566" y="659"/>
                  </a:lnTo>
                  <a:cubicBezTo>
                    <a:pt x="567" y="659"/>
                    <a:pt x="568" y="659"/>
                    <a:pt x="569" y="660"/>
                  </a:cubicBezTo>
                  <a:lnTo>
                    <a:pt x="611" y="667"/>
                  </a:lnTo>
                  <a:cubicBezTo>
                    <a:pt x="612" y="667"/>
                    <a:pt x="613" y="667"/>
                    <a:pt x="614" y="667"/>
                  </a:cubicBezTo>
                  <a:lnTo>
                    <a:pt x="633" y="666"/>
                  </a:lnTo>
                  <a:lnTo>
                    <a:pt x="645" y="666"/>
                  </a:lnTo>
                  <a:lnTo>
                    <a:pt x="646" y="668"/>
                  </a:lnTo>
                  <a:lnTo>
                    <a:pt x="650" y="675"/>
                  </a:lnTo>
                  <a:lnTo>
                    <a:pt x="657" y="684"/>
                  </a:lnTo>
                  <a:cubicBezTo>
                    <a:pt x="658" y="687"/>
                    <a:pt x="661" y="688"/>
                    <a:pt x="663" y="689"/>
                  </a:cubicBezTo>
                  <a:lnTo>
                    <a:pt x="672" y="692"/>
                  </a:lnTo>
                  <a:cubicBezTo>
                    <a:pt x="674" y="693"/>
                    <a:pt x="677" y="693"/>
                    <a:pt x="679" y="693"/>
                  </a:cubicBezTo>
                  <a:lnTo>
                    <a:pt x="695" y="690"/>
                  </a:lnTo>
                  <a:cubicBezTo>
                    <a:pt x="696" y="689"/>
                    <a:pt x="696" y="689"/>
                    <a:pt x="697" y="689"/>
                  </a:cubicBezTo>
                  <a:lnTo>
                    <a:pt x="716" y="682"/>
                  </a:lnTo>
                  <a:lnTo>
                    <a:pt x="736" y="673"/>
                  </a:lnTo>
                  <a:lnTo>
                    <a:pt x="750" y="665"/>
                  </a:lnTo>
                  <a:cubicBezTo>
                    <a:pt x="752" y="665"/>
                    <a:pt x="753" y="663"/>
                    <a:pt x="755" y="662"/>
                  </a:cubicBezTo>
                  <a:lnTo>
                    <a:pt x="761" y="655"/>
                  </a:lnTo>
                  <a:cubicBezTo>
                    <a:pt x="762" y="653"/>
                    <a:pt x="763" y="651"/>
                    <a:pt x="764" y="648"/>
                  </a:cubicBezTo>
                  <a:lnTo>
                    <a:pt x="765" y="641"/>
                  </a:lnTo>
                  <a:cubicBezTo>
                    <a:pt x="765" y="641"/>
                    <a:pt x="765" y="640"/>
                    <a:pt x="765" y="639"/>
                  </a:cubicBezTo>
                  <a:lnTo>
                    <a:pt x="765" y="645"/>
                  </a:lnTo>
                  <a:lnTo>
                    <a:pt x="754" y="648"/>
                  </a:lnTo>
                  <a:lnTo>
                    <a:pt x="757" y="650"/>
                  </a:lnTo>
                  <a:lnTo>
                    <a:pt x="767" y="658"/>
                  </a:lnTo>
                  <a:lnTo>
                    <a:pt x="789" y="677"/>
                  </a:lnTo>
                  <a:cubicBezTo>
                    <a:pt x="790" y="678"/>
                    <a:pt x="791" y="678"/>
                    <a:pt x="793" y="679"/>
                  </a:cubicBezTo>
                  <a:lnTo>
                    <a:pt x="812" y="686"/>
                  </a:lnTo>
                  <a:lnTo>
                    <a:pt x="829" y="692"/>
                  </a:lnTo>
                  <a:lnTo>
                    <a:pt x="848" y="702"/>
                  </a:lnTo>
                  <a:cubicBezTo>
                    <a:pt x="849" y="702"/>
                    <a:pt x="849" y="703"/>
                    <a:pt x="850" y="703"/>
                  </a:cubicBezTo>
                  <a:lnTo>
                    <a:pt x="872" y="711"/>
                  </a:lnTo>
                  <a:cubicBezTo>
                    <a:pt x="874" y="712"/>
                    <a:pt x="877" y="712"/>
                    <a:pt x="880" y="711"/>
                  </a:cubicBezTo>
                  <a:lnTo>
                    <a:pt x="906" y="704"/>
                  </a:lnTo>
                  <a:cubicBezTo>
                    <a:pt x="907" y="704"/>
                    <a:pt x="907" y="704"/>
                    <a:pt x="908" y="704"/>
                  </a:cubicBezTo>
                  <a:lnTo>
                    <a:pt x="935" y="692"/>
                  </a:lnTo>
                  <a:lnTo>
                    <a:pt x="965" y="679"/>
                  </a:lnTo>
                  <a:lnTo>
                    <a:pt x="977" y="674"/>
                  </a:lnTo>
                  <a:lnTo>
                    <a:pt x="981" y="672"/>
                  </a:lnTo>
                  <a:lnTo>
                    <a:pt x="1014" y="659"/>
                  </a:lnTo>
                  <a:lnTo>
                    <a:pt x="1045" y="646"/>
                  </a:lnTo>
                  <a:lnTo>
                    <a:pt x="1066" y="637"/>
                  </a:lnTo>
                  <a:cubicBezTo>
                    <a:pt x="1066" y="636"/>
                    <a:pt x="1067" y="636"/>
                    <a:pt x="1068" y="636"/>
                  </a:cubicBezTo>
                  <a:lnTo>
                    <a:pt x="1084" y="626"/>
                  </a:lnTo>
                  <a:cubicBezTo>
                    <a:pt x="1085" y="625"/>
                    <a:pt x="1085" y="624"/>
                    <a:pt x="1086" y="624"/>
                  </a:cubicBezTo>
                  <a:lnTo>
                    <a:pt x="1101" y="608"/>
                  </a:lnTo>
                  <a:lnTo>
                    <a:pt x="1106" y="603"/>
                  </a:lnTo>
                  <a:lnTo>
                    <a:pt x="1108" y="603"/>
                  </a:lnTo>
                  <a:lnTo>
                    <a:pt x="1116" y="606"/>
                  </a:lnTo>
                  <a:lnTo>
                    <a:pt x="1132" y="617"/>
                  </a:lnTo>
                  <a:lnTo>
                    <a:pt x="1149" y="628"/>
                  </a:lnTo>
                  <a:cubicBezTo>
                    <a:pt x="1150" y="628"/>
                    <a:pt x="1152" y="629"/>
                    <a:pt x="1153" y="629"/>
                  </a:cubicBezTo>
                  <a:lnTo>
                    <a:pt x="1168" y="633"/>
                  </a:lnTo>
                  <a:cubicBezTo>
                    <a:pt x="1171" y="634"/>
                    <a:pt x="1175" y="634"/>
                    <a:pt x="1178" y="632"/>
                  </a:cubicBezTo>
                  <a:lnTo>
                    <a:pt x="1191" y="625"/>
                  </a:lnTo>
                  <a:cubicBezTo>
                    <a:pt x="1192" y="625"/>
                    <a:pt x="1193" y="624"/>
                    <a:pt x="1194" y="623"/>
                  </a:cubicBezTo>
                  <a:lnTo>
                    <a:pt x="1207" y="609"/>
                  </a:lnTo>
                  <a:lnTo>
                    <a:pt x="1218" y="594"/>
                  </a:lnTo>
                  <a:lnTo>
                    <a:pt x="1225" y="588"/>
                  </a:lnTo>
                  <a:lnTo>
                    <a:pt x="1225" y="588"/>
                  </a:lnTo>
                  <a:lnTo>
                    <a:pt x="1229" y="591"/>
                  </a:lnTo>
                  <a:lnTo>
                    <a:pt x="1250" y="601"/>
                  </a:lnTo>
                  <a:cubicBezTo>
                    <a:pt x="1251" y="601"/>
                    <a:pt x="1253" y="602"/>
                    <a:pt x="1255" y="602"/>
                  </a:cubicBezTo>
                  <a:lnTo>
                    <a:pt x="1290" y="603"/>
                  </a:lnTo>
                  <a:lnTo>
                    <a:pt x="1325" y="602"/>
                  </a:lnTo>
                  <a:lnTo>
                    <a:pt x="1346" y="600"/>
                  </a:lnTo>
                  <a:cubicBezTo>
                    <a:pt x="1347" y="600"/>
                    <a:pt x="1347" y="599"/>
                    <a:pt x="1348" y="599"/>
                  </a:cubicBezTo>
                  <a:lnTo>
                    <a:pt x="1365" y="594"/>
                  </a:lnTo>
                  <a:cubicBezTo>
                    <a:pt x="1366" y="594"/>
                    <a:pt x="1367" y="594"/>
                    <a:pt x="1368" y="593"/>
                  </a:cubicBezTo>
                  <a:lnTo>
                    <a:pt x="1388" y="582"/>
                  </a:lnTo>
                  <a:lnTo>
                    <a:pt x="1397" y="575"/>
                  </a:lnTo>
                  <a:lnTo>
                    <a:pt x="1400" y="574"/>
                  </a:lnTo>
                  <a:lnTo>
                    <a:pt x="1409" y="568"/>
                  </a:lnTo>
                  <a:lnTo>
                    <a:pt x="1421" y="561"/>
                  </a:lnTo>
                  <a:cubicBezTo>
                    <a:pt x="1421" y="560"/>
                    <a:pt x="1422" y="560"/>
                    <a:pt x="1422" y="560"/>
                  </a:cubicBezTo>
                  <a:lnTo>
                    <a:pt x="1443" y="542"/>
                  </a:lnTo>
                  <a:lnTo>
                    <a:pt x="1461" y="530"/>
                  </a:lnTo>
                  <a:lnTo>
                    <a:pt x="1460" y="530"/>
                  </a:lnTo>
                  <a:lnTo>
                    <a:pt x="1464" y="531"/>
                  </a:lnTo>
                  <a:lnTo>
                    <a:pt x="1468" y="535"/>
                  </a:lnTo>
                  <a:cubicBezTo>
                    <a:pt x="1470" y="536"/>
                    <a:pt x="1473" y="537"/>
                    <a:pt x="1475" y="537"/>
                  </a:cubicBezTo>
                  <a:lnTo>
                    <a:pt x="1482" y="537"/>
                  </a:lnTo>
                  <a:cubicBezTo>
                    <a:pt x="1486" y="537"/>
                    <a:pt x="1489" y="536"/>
                    <a:pt x="1491" y="534"/>
                  </a:cubicBezTo>
                  <a:lnTo>
                    <a:pt x="1498" y="528"/>
                  </a:lnTo>
                  <a:lnTo>
                    <a:pt x="1507" y="519"/>
                  </a:lnTo>
                  <a:lnTo>
                    <a:pt x="1513" y="513"/>
                  </a:lnTo>
                  <a:lnTo>
                    <a:pt x="1516" y="511"/>
                  </a:lnTo>
                  <a:lnTo>
                    <a:pt x="1520" y="512"/>
                  </a:lnTo>
                  <a:lnTo>
                    <a:pt x="1529" y="517"/>
                  </a:lnTo>
                  <a:lnTo>
                    <a:pt x="1550" y="528"/>
                  </a:lnTo>
                  <a:lnTo>
                    <a:pt x="1563" y="534"/>
                  </a:lnTo>
                  <a:cubicBezTo>
                    <a:pt x="1564" y="534"/>
                    <a:pt x="1565" y="534"/>
                    <a:pt x="1566" y="534"/>
                  </a:cubicBezTo>
                  <a:lnTo>
                    <a:pt x="1575" y="536"/>
                  </a:lnTo>
                  <a:cubicBezTo>
                    <a:pt x="1576" y="537"/>
                    <a:pt x="1576" y="537"/>
                    <a:pt x="1577" y="537"/>
                  </a:cubicBezTo>
                  <a:lnTo>
                    <a:pt x="1587" y="537"/>
                  </a:lnTo>
                  <a:lnTo>
                    <a:pt x="1593" y="537"/>
                  </a:lnTo>
                  <a:lnTo>
                    <a:pt x="1614" y="540"/>
                  </a:lnTo>
                  <a:cubicBezTo>
                    <a:pt x="1615" y="540"/>
                    <a:pt x="1616" y="540"/>
                    <a:pt x="1617" y="540"/>
                  </a:cubicBezTo>
                  <a:lnTo>
                    <a:pt x="1642" y="537"/>
                  </a:lnTo>
                  <a:cubicBezTo>
                    <a:pt x="1645" y="536"/>
                    <a:pt x="1649" y="535"/>
                    <a:pt x="1651" y="532"/>
                  </a:cubicBezTo>
                  <a:lnTo>
                    <a:pt x="1660" y="521"/>
                  </a:lnTo>
                  <a:cubicBezTo>
                    <a:pt x="1660" y="520"/>
                    <a:pt x="1661" y="519"/>
                    <a:pt x="1662" y="518"/>
                  </a:cubicBezTo>
                  <a:lnTo>
                    <a:pt x="1669" y="503"/>
                  </a:lnTo>
                  <a:lnTo>
                    <a:pt x="1675" y="489"/>
                  </a:lnTo>
                  <a:lnTo>
                    <a:pt x="1680" y="483"/>
                  </a:lnTo>
                  <a:lnTo>
                    <a:pt x="1683" y="482"/>
                  </a:lnTo>
                  <a:lnTo>
                    <a:pt x="1691" y="484"/>
                  </a:lnTo>
                  <a:lnTo>
                    <a:pt x="1702" y="487"/>
                  </a:lnTo>
                  <a:cubicBezTo>
                    <a:pt x="1704" y="488"/>
                    <a:pt x="1707" y="488"/>
                    <a:pt x="1710" y="487"/>
                  </a:cubicBezTo>
                  <a:lnTo>
                    <a:pt x="1719" y="484"/>
                  </a:lnTo>
                  <a:cubicBezTo>
                    <a:pt x="1722" y="483"/>
                    <a:pt x="1725" y="480"/>
                    <a:pt x="1727" y="477"/>
                  </a:cubicBezTo>
                  <a:lnTo>
                    <a:pt x="1732" y="466"/>
                  </a:lnTo>
                  <a:cubicBezTo>
                    <a:pt x="1732" y="465"/>
                    <a:pt x="1732" y="465"/>
                    <a:pt x="1732" y="464"/>
                  </a:cubicBezTo>
                  <a:lnTo>
                    <a:pt x="1736" y="449"/>
                  </a:lnTo>
                  <a:lnTo>
                    <a:pt x="1743" y="417"/>
                  </a:lnTo>
                  <a:lnTo>
                    <a:pt x="1768" y="374"/>
                  </a:lnTo>
                  <a:lnTo>
                    <a:pt x="1779" y="349"/>
                  </a:lnTo>
                  <a:lnTo>
                    <a:pt x="1788" y="329"/>
                  </a:lnTo>
                  <a:lnTo>
                    <a:pt x="1800" y="318"/>
                  </a:lnTo>
                  <a:lnTo>
                    <a:pt x="1816" y="307"/>
                  </a:lnTo>
                  <a:lnTo>
                    <a:pt x="1841" y="297"/>
                  </a:lnTo>
                  <a:cubicBezTo>
                    <a:pt x="1842" y="297"/>
                    <a:pt x="1843" y="296"/>
                    <a:pt x="1843" y="296"/>
                  </a:cubicBezTo>
                  <a:lnTo>
                    <a:pt x="1868" y="281"/>
                  </a:lnTo>
                  <a:cubicBezTo>
                    <a:pt x="1870" y="280"/>
                    <a:pt x="1872" y="278"/>
                    <a:pt x="1873" y="276"/>
                  </a:cubicBezTo>
                  <a:lnTo>
                    <a:pt x="1880" y="263"/>
                  </a:lnTo>
                  <a:cubicBezTo>
                    <a:pt x="1881" y="262"/>
                    <a:pt x="1881" y="261"/>
                    <a:pt x="1881" y="260"/>
                  </a:cubicBezTo>
                  <a:lnTo>
                    <a:pt x="1885" y="245"/>
                  </a:lnTo>
                  <a:lnTo>
                    <a:pt x="1889" y="232"/>
                  </a:lnTo>
                  <a:lnTo>
                    <a:pt x="1890" y="231"/>
                  </a:lnTo>
                  <a:lnTo>
                    <a:pt x="1890" y="231"/>
                  </a:lnTo>
                  <a:lnTo>
                    <a:pt x="1900" y="236"/>
                  </a:lnTo>
                  <a:lnTo>
                    <a:pt x="1914" y="243"/>
                  </a:lnTo>
                  <a:cubicBezTo>
                    <a:pt x="1916" y="243"/>
                    <a:pt x="1918" y="244"/>
                    <a:pt x="1919" y="244"/>
                  </a:cubicBezTo>
                  <a:lnTo>
                    <a:pt x="1930" y="244"/>
                  </a:lnTo>
                  <a:cubicBezTo>
                    <a:pt x="1934" y="244"/>
                    <a:pt x="1938" y="242"/>
                    <a:pt x="1940" y="239"/>
                  </a:cubicBezTo>
                  <a:lnTo>
                    <a:pt x="1948" y="230"/>
                  </a:lnTo>
                  <a:cubicBezTo>
                    <a:pt x="1949" y="229"/>
                    <a:pt x="1950" y="228"/>
                    <a:pt x="1951" y="227"/>
                  </a:cubicBezTo>
                  <a:lnTo>
                    <a:pt x="1957" y="213"/>
                  </a:lnTo>
                  <a:lnTo>
                    <a:pt x="1971" y="188"/>
                  </a:lnTo>
                  <a:lnTo>
                    <a:pt x="1986" y="179"/>
                  </a:lnTo>
                  <a:lnTo>
                    <a:pt x="2004" y="169"/>
                  </a:lnTo>
                  <a:lnTo>
                    <a:pt x="2025" y="161"/>
                  </a:lnTo>
                  <a:lnTo>
                    <a:pt x="2042" y="151"/>
                  </a:lnTo>
                  <a:cubicBezTo>
                    <a:pt x="2043" y="151"/>
                    <a:pt x="2043" y="150"/>
                    <a:pt x="2044" y="150"/>
                  </a:cubicBezTo>
                  <a:lnTo>
                    <a:pt x="2055" y="141"/>
                  </a:lnTo>
                  <a:cubicBezTo>
                    <a:pt x="2055" y="140"/>
                    <a:pt x="2056" y="140"/>
                    <a:pt x="2057" y="139"/>
                  </a:cubicBezTo>
                  <a:lnTo>
                    <a:pt x="2064" y="131"/>
                  </a:lnTo>
                  <a:lnTo>
                    <a:pt x="2076" y="118"/>
                  </a:lnTo>
                  <a:lnTo>
                    <a:pt x="2087" y="111"/>
                  </a:lnTo>
                  <a:lnTo>
                    <a:pt x="2102" y="102"/>
                  </a:lnTo>
                  <a:lnTo>
                    <a:pt x="2115" y="95"/>
                  </a:lnTo>
                  <a:lnTo>
                    <a:pt x="2120" y="92"/>
                  </a:lnTo>
                  <a:lnTo>
                    <a:pt x="2138" y="82"/>
                  </a:lnTo>
                  <a:lnTo>
                    <a:pt x="2156" y="68"/>
                  </a:lnTo>
                  <a:lnTo>
                    <a:pt x="2172" y="59"/>
                  </a:lnTo>
                  <a:lnTo>
                    <a:pt x="2183" y="56"/>
                  </a:lnTo>
                  <a:lnTo>
                    <a:pt x="2190" y="59"/>
                  </a:lnTo>
                  <a:lnTo>
                    <a:pt x="2202" y="69"/>
                  </a:lnTo>
                  <a:lnTo>
                    <a:pt x="2213" y="82"/>
                  </a:lnTo>
                  <a:cubicBezTo>
                    <a:pt x="2214" y="83"/>
                    <a:pt x="2215" y="84"/>
                    <a:pt x="2217" y="85"/>
                  </a:cubicBezTo>
                  <a:lnTo>
                    <a:pt x="2229" y="92"/>
                  </a:lnTo>
                  <a:cubicBezTo>
                    <a:pt x="2231" y="93"/>
                    <a:pt x="2234" y="94"/>
                    <a:pt x="2237" y="94"/>
                  </a:cubicBezTo>
                  <a:lnTo>
                    <a:pt x="2249" y="93"/>
                  </a:lnTo>
                  <a:cubicBezTo>
                    <a:pt x="2251" y="93"/>
                    <a:pt x="2252" y="92"/>
                    <a:pt x="2254" y="91"/>
                  </a:cubicBezTo>
                  <a:lnTo>
                    <a:pt x="2266" y="84"/>
                  </a:lnTo>
                  <a:lnTo>
                    <a:pt x="2277" y="78"/>
                  </a:lnTo>
                  <a:lnTo>
                    <a:pt x="2284" y="75"/>
                  </a:lnTo>
                  <a:lnTo>
                    <a:pt x="2307" y="82"/>
                  </a:lnTo>
                  <a:lnTo>
                    <a:pt x="2330" y="93"/>
                  </a:lnTo>
                  <a:cubicBezTo>
                    <a:pt x="2331" y="93"/>
                    <a:pt x="2331" y="93"/>
                    <a:pt x="2332" y="93"/>
                  </a:cubicBezTo>
                  <a:lnTo>
                    <a:pt x="2339" y="95"/>
                  </a:lnTo>
                  <a:lnTo>
                    <a:pt x="2343" y="96"/>
                  </a:lnTo>
                  <a:lnTo>
                    <a:pt x="2352" y="100"/>
                  </a:lnTo>
                  <a:lnTo>
                    <a:pt x="2375" y="112"/>
                  </a:lnTo>
                  <a:lnTo>
                    <a:pt x="2400" y="130"/>
                  </a:lnTo>
                  <a:lnTo>
                    <a:pt x="2417" y="157"/>
                  </a:lnTo>
                  <a:lnTo>
                    <a:pt x="2423" y="172"/>
                  </a:lnTo>
                  <a:lnTo>
                    <a:pt x="2428" y="182"/>
                  </a:lnTo>
                  <a:lnTo>
                    <a:pt x="2428" y="185"/>
                  </a:lnTo>
                  <a:lnTo>
                    <a:pt x="2428" y="185"/>
                  </a:lnTo>
                  <a:cubicBezTo>
                    <a:pt x="2426" y="188"/>
                    <a:pt x="2426" y="193"/>
                    <a:pt x="2427" y="197"/>
                  </a:cubicBezTo>
                  <a:lnTo>
                    <a:pt x="2429" y="203"/>
                  </a:lnTo>
                  <a:cubicBezTo>
                    <a:pt x="2429" y="204"/>
                    <a:pt x="2430" y="205"/>
                    <a:pt x="2431" y="206"/>
                  </a:cubicBezTo>
                  <a:lnTo>
                    <a:pt x="2443" y="223"/>
                  </a:lnTo>
                  <a:lnTo>
                    <a:pt x="2462" y="246"/>
                  </a:lnTo>
                  <a:lnTo>
                    <a:pt x="2488" y="274"/>
                  </a:lnTo>
                  <a:lnTo>
                    <a:pt x="2502" y="289"/>
                  </a:lnTo>
                  <a:cubicBezTo>
                    <a:pt x="2503" y="289"/>
                    <a:pt x="2503" y="290"/>
                    <a:pt x="2504" y="290"/>
                  </a:cubicBezTo>
                  <a:lnTo>
                    <a:pt x="2518" y="300"/>
                  </a:lnTo>
                  <a:cubicBezTo>
                    <a:pt x="2519" y="301"/>
                    <a:pt x="2521" y="302"/>
                    <a:pt x="2523" y="303"/>
                  </a:cubicBezTo>
                  <a:lnTo>
                    <a:pt x="2552" y="308"/>
                  </a:lnTo>
                  <a:lnTo>
                    <a:pt x="2573" y="309"/>
                  </a:lnTo>
                  <a:lnTo>
                    <a:pt x="2570" y="306"/>
                  </a:lnTo>
                  <a:lnTo>
                    <a:pt x="2570" y="306"/>
                  </a:lnTo>
                  <a:cubicBezTo>
                    <a:pt x="2570" y="307"/>
                    <a:pt x="2570" y="308"/>
                    <a:pt x="2570" y="309"/>
                  </a:cubicBezTo>
                  <a:lnTo>
                    <a:pt x="2571" y="315"/>
                  </a:lnTo>
                  <a:cubicBezTo>
                    <a:pt x="2572" y="318"/>
                    <a:pt x="2574" y="321"/>
                    <a:pt x="2576" y="323"/>
                  </a:cubicBezTo>
                  <a:lnTo>
                    <a:pt x="2580" y="326"/>
                  </a:lnTo>
                  <a:cubicBezTo>
                    <a:pt x="2584" y="328"/>
                    <a:pt x="2588" y="329"/>
                    <a:pt x="2591" y="328"/>
                  </a:cubicBezTo>
                  <a:lnTo>
                    <a:pt x="2600" y="326"/>
                  </a:lnTo>
                  <a:cubicBezTo>
                    <a:pt x="2601" y="326"/>
                    <a:pt x="2602" y="326"/>
                    <a:pt x="2603" y="326"/>
                  </a:cubicBezTo>
                  <a:lnTo>
                    <a:pt x="2614" y="321"/>
                  </a:lnTo>
                  <a:lnTo>
                    <a:pt x="2624" y="317"/>
                  </a:lnTo>
                  <a:lnTo>
                    <a:pt x="2626" y="316"/>
                  </a:lnTo>
                  <a:lnTo>
                    <a:pt x="2636" y="324"/>
                  </a:lnTo>
                  <a:lnTo>
                    <a:pt x="2647" y="337"/>
                  </a:lnTo>
                  <a:cubicBezTo>
                    <a:pt x="2648" y="338"/>
                    <a:pt x="2649" y="339"/>
                    <a:pt x="2650" y="340"/>
                  </a:cubicBezTo>
                  <a:lnTo>
                    <a:pt x="2663" y="348"/>
                  </a:lnTo>
                  <a:cubicBezTo>
                    <a:pt x="2666" y="349"/>
                    <a:pt x="2669" y="350"/>
                    <a:pt x="2672" y="350"/>
                  </a:cubicBezTo>
                  <a:lnTo>
                    <a:pt x="2685" y="348"/>
                  </a:lnTo>
                  <a:cubicBezTo>
                    <a:pt x="2689" y="347"/>
                    <a:pt x="2691" y="346"/>
                    <a:pt x="2694" y="343"/>
                  </a:cubicBezTo>
                  <a:lnTo>
                    <a:pt x="2701" y="335"/>
                  </a:lnTo>
                  <a:lnTo>
                    <a:pt x="2710" y="322"/>
                  </a:lnTo>
                  <a:lnTo>
                    <a:pt x="2725" y="300"/>
                  </a:lnTo>
                  <a:lnTo>
                    <a:pt x="2749" y="287"/>
                  </a:lnTo>
                  <a:lnTo>
                    <a:pt x="2773" y="275"/>
                  </a:lnTo>
                  <a:cubicBezTo>
                    <a:pt x="2776" y="274"/>
                    <a:pt x="2778" y="273"/>
                    <a:pt x="2779" y="270"/>
                  </a:cubicBezTo>
                  <a:lnTo>
                    <a:pt x="2790" y="252"/>
                  </a:lnTo>
                  <a:lnTo>
                    <a:pt x="2797" y="242"/>
                  </a:lnTo>
                  <a:lnTo>
                    <a:pt x="2813" y="237"/>
                  </a:lnTo>
                  <a:lnTo>
                    <a:pt x="2834" y="238"/>
                  </a:lnTo>
                  <a:lnTo>
                    <a:pt x="2854" y="246"/>
                  </a:lnTo>
                  <a:lnTo>
                    <a:pt x="2876" y="261"/>
                  </a:lnTo>
                  <a:lnTo>
                    <a:pt x="2900" y="278"/>
                  </a:lnTo>
                  <a:lnTo>
                    <a:pt x="2924" y="294"/>
                  </a:lnTo>
                  <a:cubicBezTo>
                    <a:pt x="2926" y="295"/>
                    <a:pt x="2927" y="295"/>
                    <a:pt x="2929" y="296"/>
                  </a:cubicBezTo>
                  <a:lnTo>
                    <a:pt x="2953" y="301"/>
                  </a:lnTo>
                  <a:lnTo>
                    <a:pt x="2972" y="303"/>
                  </a:lnTo>
                  <a:lnTo>
                    <a:pt x="2977" y="303"/>
                  </a:lnTo>
                  <a:cubicBezTo>
                    <a:pt x="2981" y="303"/>
                    <a:pt x="2984" y="301"/>
                    <a:pt x="2987" y="299"/>
                  </a:cubicBezTo>
                  <a:lnTo>
                    <a:pt x="2989" y="297"/>
                  </a:lnTo>
                  <a:lnTo>
                    <a:pt x="2968" y="282"/>
                  </a:lnTo>
                  <a:lnTo>
                    <a:pt x="2967" y="284"/>
                  </a:lnTo>
                  <a:lnTo>
                    <a:pt x="2961" y="298"/>
                  </a:lnTo>
                  <a:lnTo>
                    <a:pt x="2951" y="320"/>
                  </a:lnTo>
                  <a:lnTo>
                    <a:pt x="2937" y="352"/>
                  </a:lnTo>
                  <a:lnTo>
                    <a:pt x="2920" y="391"/>
                  </a:lnTo>
                  <a:lnTo>
                    <a:pt x="2903" y="441"/>
                  </a:lnTo>
                  <a:lnTo>
                    <a:pt x="2894" y="472"/>
                  </a:lnTo>
                  <a:lnTo>
                    <a:pt x="2883" y="508"/>
                  </a:lnTo>
                  <a:lnTo>
                    <a:pt x="2861" y="588"/>
                  </a:lnTo>
                  <a:lnTo>
                    <a:pt x="2839" y="665"/>
                  </a:lnTo>
                  <a:lnTo>
                    <a:pt x="2831" y="697"/>
                  </a:lnTo>
                  <a:lnTo>
                    <a:pt x="2824" y="721"/>
                  </a:lnTo>
                  <a:lnTo>
                    <a:pt x="2819" y="738"/>
                  </a:lnTo>
                  <a:lnTo>
                    <a:pt x="2816" y="749"/>
                  </a:lnTo>
                  <a:lnTo>
                    <a:pt x="2813" y="760"/>
                  </a:lnTo>
                  <a:cubicBezTo>
                    <a:pt x="2812" y="761"/>
                    <a:pt x="2812" y="762"/>
                    <a:pt x="2812" y="763"/>
                  </a:cubicBezTo>
                  <a:lnTo>
                    <a:pt x="2812" y="764"/>
                  </a:lnTo>
                  <a:lnTo>
                    <a:pt x="2839" y="764"/>
                  </a:lnTo>
                  <a:lnTo>
                    <a:pt x="2839" y="763"/>
                  </a:lnTo>
                  <a:lnTo>
                    <a:pt x="2865" y="763"/>
                  </a:lnTo>
                  <a:lnTo>
                    <a:pt x="2865" y="764"/>
                  </a:lnTo>
                  <a:lnTo>
                    <a:pt x="2785" y="764"/>
                  </a:lnTo>
                  <a:lnTo>
                    <a:pt x="2785" y="763"/>
                  </a:lnTo>
                  <a:cubicBezTo>
                    <a:pt x="2785" y="760"/>
                    <a:pt x="2786" y="756"/>
                    <a:pt x="2787" y="753"/>
                  </a:cubicBezTo>
                  <a:lnTo>
                    <a:pt x="2790" y="742"/>
                  </a:lnTo>
                  <a:lnTo>
                    <a:pt x="2793" y="730"/>
                  </a:lnTo>
                  <a:lnTo>
                    <a:pt x="2798" y="713"/>
                  </a:lnTo>
                  <a:lnTo>
                    <a:pt x="2805" y="691"/>
                  </a:lnTo>
                  <a:lnTo>
                    <a:pt x="2813" y="657"/>
                  </a:lnTo>
                  <a:lnTo>
                    <a:pt x="2835" y="581"/>
                  </a:lnTo>
                  <a:lnTo>
                    <a:pt x="2857" y="500"/>
                  </a:lnTo>
                  <a:lnTo>
                    <a:pt x="2868" y="464"/>
                  </a:lnTo>
                  <a:lnTo>
                    <a:pt x="2878" y="432"/>
                  </a:lnTo>
                  <a:lnTo>
                    <a:pt x="2896" y="380"/>
                  </a:lnTo>
                  <a:lnTo>
                    <a:pt x="2913" y="341"/>
                  </a:lnTo>
                  <a:lnTo>
                    <a:pt x="2927" y="310"/>
                  </a:lnTo>
                  <a:lnTo>
                    <a:pt x="2936" y="288"/>
                  </a:lnTo>
                  <a:lnTo>
                    <a:pt x="2943" y="272"/>
                  </a:lnTo>
                  <a:lnTo>
                    <a:pt x="2944" y="270"/>
                  </a:lnTo>
                  <a:lnTo>
                    <a:pt x="3008" y="316"/>
                  </a:lnTo>
                  <a:lnTo>
                    <a:pt x="3006" y="318"/>
                  </a:lnTo>
                  <a:cubicBezTo>
                    <a:pt x="2998" y="325"/>
                    <a:pt x="2988" y="329"/>
                    <a:pt x="2977" y="329"/>
                  </a:cubicBezTo>
                  <a:lnTo>
                    <a:pt x="2969" y="329"/>
                  </a:lnTo>
                  <a:lnTo>
                    <a:pt x="2947" y="327"/>
                  </a:lnTo>
                  <a:lnTo>
                    <a:pt x="2923" y="322"/>
                  </a:lnTo>
                  <a:cubicBezTo>
                    <a:pt x="2919" y="321"/>
                    <a:pt x="2914" y="319"/>
                    <a:pt x="2910" y="316"/>
                  </a:cubicBezTo>
                  <a:lnTo>
                    <a:pt x="2884" y="300"/>
                  </a:lnTo>
                  <a:lnTo>
                    <a:pt x="2861" y="283"/>
                  </a:lnTo>
                  <a:lnTo>
                    <a:pt x="2841" y="270"/>
                  </a:lnTo>
                  <a:lnTo>
                    <a:pt x="2828" y="264"/>
                  </a:lnTo>
                  <a:lnTo>
                    <a:pt x="2817" y="264"/>
                  </a:lnTo>
                  <a:lnTo>
                    <a:pt x="2814" y="265"/>
                  </a:lnTo>
                  <a:lnTo>
                    <a:pt x="2813" y="266"/>
                  </a:lnTo>
                  <a:lnTo>
                    <a:pt x="2802" y="284"/>
                  </a:lnTo>
                  <a:cubicBezTo>
                    <a:pt x="2798" y="291"/>
                    <a:pt x="2792" y="296"/>
                    <a:pt x="2785" y="300"/>
                  </a:cubicBezTo>
                  <a:lnTo>
                    <a:pt x="2761" y="311"/>
                  </a:lnTo>
                  <a:lnTo>
                    <a:pt x="2743" y="320"/>
                  </a:lnTo>
                  <a:lnTo>
                    <a:pt x="2732" y="337"/>
                  </a:lnTo>
                  <a:lnTo>
                    <a:pt x="2721" y="353"/>
                  </a:lnTo>
                  <a:lnTo>
                    <a:pt x="2714" y="361"/>
                  </a:lnTo>
                  <a:cubicBezTo>
                    <a:pt x="2707" y="368"/>
                    <a:pt x="2699" y="373"/>
                    <a:pt x="2690" y="374"/>
                  </a:cubicBezTo>
                  <a:lnTo>
                    <a:pt x="2677" y="376"/>
                  </a:lnTo>
                  <a:cubicBezTo>
                    <a:pt x="2667" y="377"/>
                    <a:pt x="2658" y="376"/>
                    <a:pt x="2650" y="371"/>
                  </a:cubicBezTo>
                  <a:lnTo>
                    <a:pt x="2637" y="363"/>
                  </a:lnTo>
                  <a:cubicBezTo>
                    <a:pt x="2633" y="360"/>
                    <a:pt x="2630" y="358"/>
                    <a:pt x="2627" y="354"/>
                  </a:cubicBezTo>
                  <a:lnTo>
                    <a:pt x="2618" y="343"/>
                  </a:lnTo>
                  <a:lnTo>
                    <a:pt x="2618" y="344"/>
                  </a:lnTo>
                  <a:lnTo>
                    <a:pt x="2630" y="343"/>
                  </a:lnTo>
                  <a:lnTo>
                    <a:pt x="2625" y="345"/>
                  </a:lnTo>
                  <a:lnTo>
                    <a:pt x="2614" y="350"/>
                  </a:lnTo>
                  <a:cubicBezTo>
                    <a:pt x="2611" y="351"/>
                    <a:pt x="2609" y="352"/>
                    <a:pt x="2606" y="353"/>
                  </a:cubicBezTo>
                  <a:lnTo>
                    <a:pt x="2597" y="355"/>
                  </a:lnTo>
                  <a:cubicBezTo>
                    <a:pt x="2586" y="357"/>
                    <a:pt x="2574" y="354"/>
                    <a:pt x="2564" y="347"/>
                  </a:cubicBezTo>
                  <a:lnTo>
                    <a:pt x="2560" y="344"/>
                  </a:lnTo>
                  <a:cubicBezTo>
                    <a:pt x="2552" y="338"/>
                    <a:pt x="2547" y="329"/>
                    <a:pt x="2545" y="319"/>
                  </a:cubicBezTo>
                  <a:lnTo>
                    <a:pt x="2544" y="313"/>
                  </a:lnTo>
                  <a:cubicBezTo>
                    <a:pt x="2544" y="311"/>
                    <a:pt x="2543" y="309"/>
                    <a:pt x="2543" y="306"/>
                  </a:cubicBezTo>
                  <a:lnTo>
                    <a:pt x="2543" y="317"/>
                  </a:lnTo>
                  <a:lnTo>
                    <a:pt x="2561" y="335"/>
                  </a:lnTo>
                  <a:lnTo>
                    <a:pt x="2548" y="334"/>
                  </a:lnTo>
                  <a:lnTo>
                    <a:pt x="2519" y="329"/>
                  </a:lnTo>
                  <a:cubicBezTo>
                    <a:pt x="2513" y="328"/>
                    <a:pt x="2507" y="326"/>
                    <a:pt x="2502" y="322"/>
                  </a:cubicBezTo>
                  <a:lnTo>
                    <a:pt x="2488" y="312"/>
                  </a:lnTo>
                  <a:cubicBezTo>
                    <a:pt x="2486" y="311"/>
                    <a:pt x="2485" y="309"/>
                    <a:pt x="2483" y="308"/>
                  </a:cubicBezTo>
                  <a:lnTo>
                    <a:pt x="2468" y="292"/>
                  </a:lnTo>
                  <a:lnTo>
                    <a:pt x="2442" y="264"/>
                  </a:lnTo>
                  <a:lnTo>
                    <a:pt x="2421" y="239"/>
                  </a:lnTo>
                  <a:lnTo>
                    <a:pt x="2409" y="222"/>
                  </a:lnTo>
                  <a:cubicBezTo>
                    <a:pt x="2407" y="218"/>
                    <a:pt x="2405" y="215"/>
                    <a:pt x="2404" y="211"/>
                  </a:cubicBezTo>
                  <a:lnTo>
                    <a:pt x="2402" y="205"/>
                  </a:lnTo>
                  <a:cubicBezTo>
                    <a:pt x="2398" y="193"/>
                    <a:pt x="2399" y="181"/>
                    <a:pt x="2406" y="170"/>
                  </a:cubicBezTo>
                  <a:lnTo>
                    <a:pt x="2401" y="177"/>
                  </a:lnTo>
                  <a:lnTo>
                    <a:pt x="2401" y="188"/>
                  </a:lnTo>
                  <a:lnTo>
                    <a:pt x="2399" y="182"/>
                  </a:lnTo>
                  <a:lnTo>
                    <a:pt x="2393" y="169"/>
                  </a:lnTo>
                  <a:lnTo>
                    <a:pt x="2380" y="148"/>
                  </a:lnTo>
                  <a:lnTo>
                    <a:pt x="2361" y="135"/>
                  </a:lnTo>
                  <a:lnTo>
                    <a:pt x="2342" y="125"/>
                  </a:lnTo>
                  <a:lnTo>
                    <a:pt x="2337" y="122"/>
                  </a:lnTo>
                  <a:lnTo>
                    <a:pt x="2331" y="121"/>
                  </a:lnTo>
                  <a:lnTo>
                    <a:pt x="2324" y="119"/>
                  </a:lnTo>
                  <a:cubicBezTo>
                    <a:pt x="2323" y="118"/>
                    <a:pt x="2321" y="118"/>
                    <a:pt x="2319" y="117"/>
                  </a:cubicBezTo>
                  <a:lnTo>
                    <a:pt x="2298" y="107"/>
                  </a:lnTo>
                  <a:lnTo>
                    <a:pt x="2284" y="103"/>
                  </a:lnTo>
                  <a:lnTo>
                    <a:pt x="2288" y="102"/>
                  </a:lnTo>
                  <a:lnTo>
                    <a:pt x="2280" y="107"/>
                  </a:lnTo>
                  <a:lnTo>
                    <a:pt x="2268" y="114"/>
                  </a:lnTo>
                  <a:cubicBezTo>
                    <a:pt x="2262" y="117"/>
                    <a:pt x="2257" y="119"/>
                    <a:pt x="2251" y="119"/>
                  </a:cubicBezTo>
                  <a:lnTo>
                    <a:pt x="2239" y="120"/>
                  </a:lnTo>
                  <a:cubicBezTo>
                    <a:pt x="2231" y="121"/>
                    <a:pt x="2222" y="119"/>
                    <a:pt x="2215" y="115"/>
                  </a:cubicBezTo>
                  <a:lnTo>
                    <a:pt x="2203" y="108"/>
                  </a:lnTo>
                  <a:cubicBezTo>
                    <a:pt x="2199" y="106"/>
                    <a:pt x="2196" y="103"/>
                    <a:pt x="2193" y="99"/>
                  </a:cubicBezTo>
                  <a:lnTo>
                    <a:pt x="2183" y="88"/>
                  </a:lnTo>
                  <a:lnTo>
                    <a:pt x="2176" y="82"/>
                  </a:lnTo>
                  <a:lnTo>
                    <a:pt x="2181" y="84"/>
                  </a:lnTo>
                  <a:lnTo>
                    <a:pt x="2183" y="83"/>
                  </a:lnTo>
                  <a:lnTo>
                    <a:pt x="2172" y="90"/>
                  </a:lnTo>
                  <a:lnTo>
                    <a:pt x="2152" y="104"/>
                  </a:lnTo>
                  <a:lnTo>
                    <a:pt x="2132" y="116"/>
                  </a:lnTo>
                  <a:lnTo>
                    <a:pt x="2127" y="119"/>
                  </a:lnTo>
                  <a:lnTo>
                    <a:pt x="2116" y="125"/>
                  </a:lnTo>
                  <a:lnTo>
                    <a:pt x="2101" y="134"/>
                  </a:lnTo>
                  <a:lnTo>
                    <a:pt x="2093" y="139"/>
                  </a:lnTo>
                  <a:lnTo>
                    <a:pt x="2084" y="149"/>
                  </a:lnTo>
                  <a:lnTo>
                    <a:pt x="2077" y="157"/>
                  </a:lnTo>
                  <a:cubicBezTo>
                    <a:pt x="2075" y="158"/>
                    <a:pt x="2074" y="160"/>
                    <a:pt x="2072" y="161"/>
                  </a:cubicBezTo>
                  <a:lnTo>
                    <a:pt x="2061" y="170"/>
                  </a:lnTo>
                  <a:cubicBezTo>
                    <a:pt x="2059" y="172"/>
                    <a:pt x="2057" y="173"/>
                    <a:pt x="2055" y="174"/>
                  </a:cubicBezTo>
                  <a:lnTo>
                    <a:pt x="2035" y="185"/>
                  </a:lnTo>
                  <a:lnTo>
                    <a:pt x="2016" y="193"/>
                  </a:lnTo>
                  <a:lnTo>
                    <a:pt x="2000" y="201"/>
                  </a:lnTo>
                  <a:lnTo>
                    <a:pt x="1991" y="207"/>
                  </a:lnTo>
                  <a:lnTo>
                    <a:pt x="1981" y="223"/>
                  </a:lnTo>
                  <a:lnTo>
                    <a:pt x="1975" y="237"/>
                  </a:lnTo>
                  <a:cubicBezTo>
                    <a:pt x="1974" y="241"/>
                    <a:pt x="1971" y="245"/>
                    <a:pt x="1968" y="248"/>
                  </a:cubicBezTo>
                  <a:lnTo>
                    <a:pt x="1960" y="257"/>
                  </a:lnTo>
                  <a:cubicBezTo>
                    <a:pt x="1953" y="266"/>
                    <a:pt x="1942" y="270"/>
                    <a:pt x="1930" y="270"/>
                  </a:cubicBezTo>
                  <a:lnTo>
                    <a:pt x="1919" y="270"/>
                  </a:lnTo>
                  <a:cubicBezTo>
                    <a:pt x="1914" y="270"/>
                    <a:pt x="1908" y="269"/>
                    <a:pt x="1903" y="267"/>
                  </a:cubicBezTo>
                  <a:lnTo>
                    <a:pt x="1888" y="260"/>
                  </a:lnTo>
                  <a:lnTo>
                    <a:pt x="1883" y="257"/>
                  </a:lnTo>
                  <a:lnTo>
                    <a:pt x="1904" y="257"/>
                  </a:lnTo>
                  <a:lnTo>
                    <a:pt x="1913" y="243"/>
                  </a:lnTo>
                  <a:lnTo>
                    <a:pt x="1911" y="252"/>
                  </a:lnTo>
                  <a:lnTo>
                    <a:pt x="1907" y="267"/>
                  </a:lnTo>
                  <a:cubicBezTo>
                    <a:pt x="1906" y="270"/>
                    <a:pt x="1905" y="273"/>
                    <a:pt x="1904" y="275"/>
                  </a:cubicBezTo>
                  <a:lnTo>
                    <a:pt x="1897" y="288"/>
                  </a:lnTo>
                  <a:cubicBezTo>
                    <a:pt x="1893" y="295"/>
                    <a:pt x="1888" y="300"/>
                    <a:pt x="1882" y="304"/>
                  </a:cubicBezTo>
                  <a:lnTo>
                    <a:pt x="1857" y="319"/>
                  </a:lnTo>
                  <a:cubicBezTo>
                    <a:pt x="1855" y="320"/>
                    <a:pt x="1853" y="321"/>
                    <a:pt x="1852" y="322"/>
                  </a:cubicBezTo>
                  <a:lnTo>
                    <a:pt x="1828" y="331"/>
                  </a:lnTo>
                  <a:lnTo>
                    <a:pt x="1817" y="339"/>
                  </a:lnTo>
                  <a:lnTo>
                    <a:pt x="1810" y="345"/>
                  </a:lnTo>
                  <a:lnTo>
                    <a:pt x="1803" y="359"/>
                  </a:lnTo>
                  <a:lnTo>
                    <a:pt x="1791" y="387"/>
                  </a:lnTo>
                  <a:lnTo>
                    <a:pt x="1768" y="427"/>
                  </a:lnTo>
                  <a:lnTo>
                    <a:pt x="1762" y="456"/>
                  </a:lnTo>
                  <a:lnTo>
                    <a:pt x="1758" y="471"/>
                  </a:lnTo>
                  <a:cubicBezTo>
                    <a:pt x="1758" y="473"/>
                    <a:pt x="1757" y="475"/>
                    <a:pt x="1756" y="477"/>
                  </a:cubicBezTo>
                  <a:lnTo>
                    <a:pt x="1751" y="488"/>
                  </a:lnTo>
                  <a:cubicBezTo>
                    <a:pt x="1746" y="498"/>
                    <a:pt x="1738" y="506"/>
                    <a:pt x="1727" y="509"/>
                  </a:cubicBezTo>
                  <a:lnTo>
                    <a:pt x="1718" y="512"/>
                  </a:lnTo>
                  <a:cubicBezTo>
                    <a:pt x="1711" y="515"/>
                    <a:pt x="1703" y="515"/>
                    <a:pt x="1695" y="513"/>
                  </a:cubicBezTo>
                  <a:lnTo>
                    <a:pt x="1685" y="510"/>
                  </a:lnTo>
                  <a:lnTo>
                    <a:pt x="1683" y="510"/>
                  </a:lnTo>
                  <a:lnTo>
                    <a:pt x="1695" y="507"/>
                  </a:lnTo>
                  <a:lnTo>
                    <a:pt x="1698" y="503"/>
                  </a:lnTo>
                  <a:lnTo>
                    <a:pt x="1693" y="514"/>
                  </a:lnTo>
                  <a:lnTo>
                    <a:pt x="1686" y="529"/>
                  </a:lnTo>
                  <a:cubicBezTo>
                    <a:pt x="1684" y="532"/>
                    <a:pt x="1683" y="535"/>
                    <a:pt x="1680" y="538"/>
                  </a:cubicBezTo>
                  <a:lnTo>
                    <a:pt x="1671" y="549"/>
                  </a:lnTo>
                  <a:cubicBezTo>
                    <a:pt x="1665" y="557"/>
                    <a:pt x="1655" y="562"/>
                    <a:pt x="1645" y="563"/>
                  </a:cubicBezTo>
                  <a:lnTo>
                    <a:pt x="1620" y="566"/>
                  </a:lnTo>
                  <a:cubicBezTo>
                    <a:pt x="1617" y="567"/>
                    <a:pt x="1613" y="567"/>
                    <a:pt x="1610" y="566"/>
                  </a:cubicBezTo>
                  <a:lnTo>
                    <a:pt x="1593" y="563"/>
                  </a:lnTo>
                  <a:lnTo>
                    <a:pt x="1587" y="563"/>
                  </a:lnTo>
                  <a:lnTo>
                    <a:pt x="1577" y="563"/>
                  </a:lnTo>
                  <a:cubicBezTo>
                    <a:pt x="1575" y="563"/>
                    <a:pt x="1572" y="563"/>
                    <a:pt x="1569" y="563"/>
                  </a:cubicBezTo>
                  <a:lnTo>
                    <a:pt x="1560" y="561"/>
                  </a:lnTo>
                  <a:cubicBezTo>
                    <a:pt x="1557" y="560"/>
                    <a:pt x="1555" y="559"/>
                    <a:pt x="1553" y="558"/>
                  </a:cubicBezTo>
                  <a:lnTo>
                    <a:pt x="1538" y="552"/>
                  </a:lnTo>
                  <a:lnTo>
                    <a:pt x="1516" y="541"/>
                  </a:lnTo>
                  <a:lnTo>
                    <a:pt x="1511" y="537"/>
                  </a:lnTo>
                  <a:lnTo>
                    <a:pt x="1519" y="539"/>
                  </a:lnTo>
                  <a:lnTo>
                    <a:pt x="1529" y="535"/>
                  </a:lnTo>
                  <a:lnTo>
                    <a:pt x="1526" y="538"/>
                  </a:lnTo>
                  <a:lnTo>
                    <a:pt x="1515" y="548"/>
                  </a:lnTo>
                  <a:lnTo>
                    <a:pt x="1508" y="554"/>
                  </a:lnTo>
                  <a:cubicBezTo>
                    <a:pt x="1501" y="560"/>
                    <a:pt x="1492" y="563"/>
                    <a:pt x="1482" y="563"/>
                  </a:cubicBezTo>
                  <a:lnTo>
                    <a:pt x="1475" y="563"/>
                  </a:lnTo>
                  <a:cubicBezTo>
                    <a:pt x="1468" y="563"/>
                    <a:pt x="1460" y="561"/>
                    <a:pt x="1453" y="557"/>
                  </a:cubicBezTo>
                  <a:lnTo>
                    <a:pt x="1452" y="555"/>
                  </a:lnTo>
                  <a:lnTo>
                    <a:pt x="1454" y="556"/>
                  </a:lnTo>
                  <a:lnTo>
                    <a:pt x="1469" y="556"/>
                  </a:lnTo>
                  <a:lnTo>
                    <a:pt x="1460" y="562"/>
                  </a:lnTo>
                  <a:lnTo>
                    <a:pt x="1439" y="580"/>
                  </a:lnTo>
                  <a:cubicBezTo>
                    <a:pt x="1438" y="581"/>
                    <a:pt x="1437" y="582"/>
                    <a:pt x="1435" y="583"/>
                  </a:cubicBezTo>
                  <a:lnTo>
                    <a:pt x="1423" y="591"/>
                  </a:lnTo>
                  <a:lnTo>
                    <a:pt x="1415" y="596"/>
                  </a:lnTo>
                  <a:lnTo>
                    <a:pt x="1413" y="596"/>
                  </a:lnTo>
                  <a:lnTo>
                    <a:pt x="1401" y="606"/>
                  </a:lnTo>
                  <a:lnTo>
                    <a:pt x="1381" y="617"/>
                  </a:lnTo>
                  <a:cubicBezTo>
                    <a:pt x="1378" y="618"/>
                    <a:pt x="1376" y="619"/>
                    <a:pt x="1373" y="620"/>
                  </a:cubicBezTo>
                  <a:lnTo>
                    <a:pt x="1356" y="625"/>
                  </a:lnTo>
                  <a:cubicBezTo>
                    <a:pt x="1353" y="626"/>
                    <a:pt x="1351" y="626"/>
                    <a:pt x="1348" y="626"/>
                  </a:cubicBezTo>
                  <a:lnTo>
                    <a:pt x="1326" y="628"/>
                  </a:lnTo>
                  <a:lnTo>
                    <a:pt x="1289" y="629"/>
                  </a:lnTo>
                  <a:lnTo>
                    <a:pt x="1254" y="628"/>
                  </a:lnTo>
                  <a:cubicBezTo>
                    <a:pt x="1249" y="628"/>
                    <a:pt x="1243" y="627"/>
                    <a:pt x="1238" y="625"/>
                  </a:cubicBezTo>
                  <a:lnTo>
                    <a:pt x="1215" y="613"/>
                  </a:lnTo>
                  <a:lnTo>
                    <a:pt x="1219" y="616"/>
                  </a:lnTo>
                  <a:lnTo>
                    <a:pt x="1236" y="614"/>
                  </a:lnTo>
                  <a:lnTo>
                    <a:pt x="1238" y="612"/>
                  </a:lnTo>
                  <a:lnTo>
                    <a:pt x="1227" y="627"/>
                  </a:lnTo>
                  <a:lnTo>
                    <a:pt x="1214" y="641"/>
                  </a:lnTo>
                  <a:cubicBezTo>
                    <a:pt x="1211" y="644"/>
                    <a:pt x="1207" y="647"/>
                    <a:pt x="1203" y="649"/>
                  </a:cubicBezTo>
                  <a:lnTo>
                    <a:pt x="1190" y="656"/>
                  </a:lnTo>
                  <a:cubicBezTo>
                    <a:pt x="1181" y="661"/>
                    <a:pt x="1171" y="662"/>
                    <a:pt x="1161" y="659"/>
                  </a:cubicBezTo>
                  <a:lnTo>
                    <a:pt x="1146" y="655"/>
                  </a:lnTo>
                  <a:cubicBezTo>
                    <a:pt x="1142" y="654"/>
                    <a:pt x="1138" y="652"/>
                    <a:pt x="1135" y="650"/>
                  </a:cubicBezTo>
                  <a:lnTo>
                    <a:pt x="1118" y="639"/>
                  </a:lnTo>
                  <a:lnTo>
                    <a:pt x="1104" y="630"/>
                  </a:lnTo>
                  <a:lnTo>
                    <a:pt x="1106" y="631"/>
                  </a:lnTo>
                  <a:lnTo>
                    <a:pt x="1120" y="627"/>
                  </a:lnTo>
                  <a:lnTo>
                    <a:pt x="1121" y="626"/>
                  </a:lnTo>
                  <a:lnTo>
                    <a:pt x="1106" y="642"/>
                  </a:lnTo>
                  <a:cubicBezTo>
                    <a:pt x="1103" y="644"/>
                    <a:pt x="1101" y="647"/>
                    <a:pt x="1098" y="648"/>
                  </a:cubicBezTo>
                  <a:lnTo>
                    <a:pt x="1082" y="658"/>
                  </a:lnTo>
                  <a:cubicBezTo>
                    <a:pt x="1080" y="659"/>
                    <a:pt x="1078" y="660"/>
                    <a:pt x="1076" y="661"/>
                  </a:cubicBezTo>
                  <a:lnTo>
                    <a:pt x="1055" y="670"/>
                  </a:lnTo>
                  <a:lnTo>
                    <a:pt x="1024" y="684"/>
                  </a:lnTo>
                  <a:lnTo>
                    <a:pt x="991" y="697"/>
                  </a:lnTo>
                  <a:lnTo>
                    <a:pt x="987" y="698"/>
                  </a:lnTo>
                  <a:lnTo>
                    <a:pt x="975" y="703"/>
                  </a:lnTo>
                  <a:lnTo>
                    <a:pt x="946" y="716"/>
                  </a:lnTo>
                  <a:lnTo>
                    <a:pt x="919" y="728"/>
                  </a:lnTo>
                  <a:cubicBezTo>
                    <a:pt x="917" y="729"/>
                    <a:pt x="915" y="730"/>
                    <a:pt x="913" y="730"/>
                  </a:cubicBezTo>
                  <a:lnTo>
                    <a:pt x="887" y="737"/>
                  </a:lnTo>
                  <a:cubicBezTo>
                    <a:pt x="879" y="739"/>
                    <a:pt x="871" y="739"/>
                    <a:pt x="863" y="736"/>
                  </a:cubicBezTo>
                  <a:lnTo>
                    <a:pt x="841" y="728"/>
                  </a:lnTo>
                  <a:cubicBezTo>
                    <a:pt x="839" y="727"/>
                    <a:pt x="837" y="727"/>
                    <a:pt x="835" y="726"/>
                  </a:cubicBezTo>
                  <a:lnTo>
                    <a:pt x="818" y="716"/>
                  </a:lnTo>
                  <a:lnTo>
                    <a:pt x="803" y="711"/>
                  </a:lnTo>
                  <a:lnTo>
                    <a:pt x="784" y="704"/>
                  </a:lnTo>
                  <a:cubicBezTo>
                    <a:pt x="779" y="702"/>
                    <a:pt x="775" y="700"/>
                    <a:pt x="771" y="697"/>
                  </a:cubicBezTo>
                  <a:lnTo>
                    <a:pt x="750" y="678"/>
                  </a:lnTo>
                  <a:lnTo>
                    <a:pt x="742" y="672"/>
                  </a:lnTo>
                  <a:lnTo>
                    <a:pt x="750" y="676"/>
                  </a:lnTo>
                  <a:lnTo>
                    <a:pt x="791" y="666"/>
                  </a:lnTo>
                  <a:lnTo>
                    <a:pt x="791" y="639"/>
                  </a:lnTo>
                  <a:cubicBezTo>
                    <a:pt x="791" y="641"/>
                    <a:pt x="791" y="643"/>
                    <a:pt x="791" y="645"/>
                  </a:cubicBezTo>
                  <a:lnTo>
                    <a:pt x="790" y="652"/>
                  </a:lnTo>
                  <a:cubicBezTo>
                    <a:pt x="789" y="660"/>
                    <a:pt x="786" y="667"/>
                    <a:pt x="781" y="672"/>
                  </a:cubicBezTo>
                  <a:lnTo>
                    <a:pt x="775" y="679"/>
                  </a:lnTo>
                  <a:cubicBezTo>
                    <a:pt x="771" y="684"/>
                    <a:pt x="767" y="687"/>
                    <a:pt x="762" y="689"/>
                  </a:cubicBezTo>
                  <a:lnTo>
                    <a:pt x="748" y="697"/>
                  </a:lnTo>
                  <a:lnTo>
                    <a:pt x="725" y="707"/>
                  </a:lnTo>
                  <a:lnTo>
                    <a:pt x="706" y="714"/>
                  </a:lnTo>
                  <a:cubicBezTo>
                    <a:pt x="704" y="715"/>
                    <a:pt x="702" y="715"/>
                    <a:pt x="700" y="716"/>
                  </a:cubicBezTo>
                  <a:lnTo>
                    <a:pt x="684" y="719"/>
                  </a:lnTo>
                  <a:cubicBezTo>
                    <a:pt x="677" y="720"/>
                    <a:pt x="670" y="720"/>
                    <a:pt x="664" y="717"/>
                  </a:cubicBezTo>
                  <a:lnTo>
                    <a:pt x="655" y="714"/>
                  </a:lnTo>
                  <a:cubicBezTo>
                    <a:pt x="647" y="712"/>
                    <a:pt x="640" y="707"/>
                    <a:pt x="635" y="700"/>
                  </a:cubicBezTo>
                  <a:lnTo>
                    <a:pt x="627" y="688"/>
                  </a:lnTo>
                  <a:lnTo>
                    <a:pt x="624" y="684"/>
                  </a:lnTo>
                  <a:lnTo>
                    <a:pt x="633" y="693"/>
                  </a:lnTo>
                  <a:lnTo>
                    <a:pt x="635" y="692"/>
                  </a:lnTo>
                  <a:lnTo>
                    <a:pt x="616" y="693"/>
                  </a:lnTo>
                  <a:cubicBezTo>
                    <a:pt x="613" y="694"/>
                    <a:pt x="610" y="693"/>
                    <a:pt x="607" y="693"/>
                  </a:cubicBezTo>
                  <a:lnTo>
                    <a:pt x="565" y="686"/>
                  </a:lnTo>
                  <a:cubicBezTo>
                    <a:pt x="562" y="685"/>
                    <a:pt x="559" y="684"/>
                    <a:pt x="556" y="683"/>
                  </a:cubicBezTo>
                  <a:lnTo>
                    <a:pt x="534" y="674"/>
                  </a:lnTo>
                  <a:lnTo>
                    <a:pt x="512" y="664"/>
                  </a:lnTo>
                  <a:lnTo>
                    <a:pt x="497" y="657"/>
                  </a:lnTo>
                  <a:lnTo>
                    <a:pt x="486" y="654"/>
                  </a:lnTo>
                  <a:lnTo>
                    <a:pt x="462" y="652"/>
                  </a:lnTo>
                  <a:lnTo>
                    <a:pt x="447" y="651"/>
                  </a:lnTo>
                  <a:cubicBezTo>
                    <a:pt x="443" y="651"/>
                    <a:pt x="439" y="650"/>
                    <a:pt x="435" y="649"/>
                  </a:cubicBezTo>
                  <a:lnTo>
                    <a:pt x="425" y="645"/>
                  </a:lnTo>
                  <a:cubicBezTo>
                    <a:pt x="417" y="642"/>
                    <a:pt x="411" y="636"/>
                    <a:pt x="406" y="630"/>
                  </a:cubicBezTo>
                  <a:lnTo>
                    <a:pt x="402" y="624"/>
                  </a:lnTo>
                  <a:cubicBezTo>
                    <a:pt x="398" y="617"/>
                    <a:pt x="395" y="609"/>
                    <a:pt x="395" y="601"/>
                  </a:cubicBezTo>
                  <a:lnTo>
                    <a:pt x="396" y="596"/>
                  </a:lnTo>
                  <a:lnTo>
                    <a:pt x="395" y="591"/>
                  </a:lnTo>
                  <a:lnTo>
                    <a:pt x="395" y="590"/>
                  </a:lnTo>
                  <a:lnTo>
                    <a:pt x="383" y="581"/>
                  </a:lnTo>
                  <a:lnTo>
                    <a:pt x="355" y="559"/>
                  </a:lnTo>
                  <a:lnTo>
                    <a:pt x="348" y="553"/>
                  </a:lnTo>
                  <a:lnTo>
                    <a:pt x="339" y="547"/>
                  </a:lnTo>
                  <a:lnTo>
                    <a:pt x="327" y="544"/>
                  </a:lnTo>
                  <a:lnTo>
                    <a:pt x="328" y="544"/>
                  </a:lnTo>
                  <a:lnTo>
                    <a:pt x="336" y="537"/>
                  </a:lnTo>
                  <a:lnTo>
                    <a:pt x="333" y="543"/>
                  </a:lnTo>
                  <a:cubicBezTo>
                    <a:pt x="327" y="552"/>
                    <a:pt x="319" y="559"/>
                    <a:pt x="308" y="562"/>
                  </a:cubicBezTo>
                  <a:lnTo>
                    <a:pt x="301" y="564"/>
                  </a:lnTo>
                  <a:cubicBezTo>
                    <a:pt x="295" y="566"/>
                    <a:pt x="288" y="566"/>
                    <a:pt x="282" y="565"/>
                  </a:cubicBezTo>
                  <a:lnTo>
                    <a:pt x="273" y="563"/>
                  </a:lnTo>
                  <a:cubicBezTo>
                    <a:pt x="268" y="561"/>
                    <a:pt x="263" y="559"/>
                    <a:pt x="259" y="556"/>
                  </a:cubicBezTo>
                  <a:lnTo>
                    <a:pt x="246" y="547"/>
                  </a:lnTo>
                  <a:lnTo>
                    <a:pt x="250" y="550"/>
                  </a:lnTo>
                  <a:lnTo>
                    <a:pt x="274" y="535"/>
                  </a:lnTo>
                  <a:lnTo>
                    <a:pt x="273" y="537"/>
                  </a:lnTo>
                  <a:lnTo>
                    <a:pt x="268" y="544"/>
                  </a:lnTo>
                  <a:cubicBezTo>
                    <a:pt x="264" y="550"/>
                    <a:pt x="258" y="554"/>
                    <a:pt x="251" y="557"/>
                  </a:cubicBezTo>
                  <a:lnTo>
                    <a:pt x="244" y="560"/>
                  </a:lnTo>
                  <a:cubicBezTo>
                    <a:pt x="234" y="564"/>
                    <a:pt x="223" y="565"/>
                    <a:pt x="214" y="561"/>
                  </a:cubicBezTo>
                  <a:lnTo>
                    <a:pt x="200" y="555"/>
                  </a:lnTo>
                  <a:lnTo>
                    <a:pt x="184" y="546"/>
                  </a:lnTo>
                  <a:lnTo>
                    <a:pt x="161" y="532"/>
                  </a:lnTo>
                  <a:lnTo>
                    <a:pt x="150" y="525"/>
                  </a:lnTo>
                  <a:lnTo>
                    <a:pt x="159" y="528"/>
                  </a:lnTo>
                  <a:lnTo>
                    <a:pt x="166" y="524"/>
                  </a:lnTo>
                  <a:lnTo>
                    <a:pt x="155" y="531"/>
                  </a:lnTo>
                  <a:cubicBezTo>
                    <a:pt x="147" y="536"/>
                    <a:pt x="137" y="538"/>
                    <a:pt x="127" y="537"/>
                  </a:cubicBezTo>
                  <a:lnTo>
                    <a:pt x="106" y="534"/>
                  </a:lnTo>
                  <a:lnTo>
                    <a:pt x="124" y="538"/>
                  </a:lnTo>
                  <a:lnTo>
                    <a:pt x="77" y="691"/>
                  </a:lnTo>
                  <a:lnTo>
                    <a:pt x="51" y="683"/>
                  </a:lnTo>
                  <a:close/>
                </a:path>
              </a:pathLst>
            </a:custGeom>
            <a:solidFill>
              <a:srgbClr val="00B050"/>
            </a:solidFill>
            <a:ln w="0" cap="flat">
              <a:solidFill>
                <a:srgbClr val="00B05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28" name="Picture 14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972218" y="3355714"/>
              <a:ext cx="949369" cy="1466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9" name="Picture 15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972218" y="3355714"/>
              <a:ext cx="949369" cy="14667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0" name="Freeform 16"/>
            <p:cNvSpPr>
              <a:spLocks noEditPoints="1"/>
            </p:cNvSpPr>
            <p:nvPr/>
          </p:nvSpPr>
          <p:spPr bwMode="auto">
            <a:xfrm>
              <a:off x="2018104" y="3407498"/>
              <a:ext cx="848103" cy="1340307"/>
            </a:xfrm>
            <a:custGeom>
              <a:avLst/>
              <a:gdLst/>
              <a:ahLst/>
              <a:cxnLst>
                <a:cxn ang="0">
                  <a:pos x="261" y="1908"/>
                </a:cxn>
                <a:cxn ang="0">
                  <a:pos x="509" y="2095"/>
                </a:cxn>
                <a:cxn ang="0">
                  <a:pos x="660" y="2114"/>
                </a:cxn>
                <a:cxn ang="0">
                  <a:pos x="867" y="1980"/>
                </a:cxn>
                <a:cxn ang="0">
                  <a:pos x="1029" y="1835"/>
                </a:cxn>
                <a:cxn ang="0">
                  <a:pos x="1123" y="1603"/>
                </a:cxn>
                <a:cxn ang="0">
                  <a:pos x="1098" y="1412"/>
                </a:cxn>
                <a:cxn ang="0">
                  <a:pos x="1208" y="1179"/>
                </a:cxn>
                <a:cxn ang="0">
                  <a:pos x="1333" y="936"/>
                </a:cxn>
                <a:cxn ang="0">
                  <a:pos x="1327" y="791"/>
                </a:cxn>
                <a:cxn ang="0">
                  <a:pos x="1401" y="639"/>
                </a:cxn>
                <a:cxn ang="0">
                  <a:pos x="1546" y="481"/>
                </a:cxn>
                <a:cxn ang="0">
                  <a:pos x="1546" y="338"/>
                </a:cxn>
                <a:cxn ang="0">
                  <a:pos x="1527" y="124"/>
                </a:cxn>
                <a:cxn ang="0">
                  <a:pos x="1421" y="127"/>
                </a:cxn>
                <a:cxn ang="0">
                  <a:pos x="1317" y="50"/>
                </a:cxn>
                <a:cxn ang="0">
                  <a:pos x="1431" y="93"/>
                </a:cxn>
                <a:cxn ang="0">
                  <a:pos x="1543" y="166"/>
                </a:cxn>
                <a:cxn ang="0">
                  <a:pos x="1573" y="408"/>
                </a:cxn>
                <a:cxn ang="0">
                  <a:pos x="1561" y="531"/>
                </a:cxn>
                <a:cxn ang="0">
                  <a:pos x="1397" y="707"/>
                </a:cxn>
                <a:cxn ang="0">
                  <a:pos x="1354" y="851"/>
                </a:cxn>
                <a:cxn ang="0">
                  <a:pos x="1281" y="988"/>
                </a:cxn>
                <a:cxn ang="0">
                  <a:pos x="1187" y="1276"/>
                </a:cxn>
                <a:cxn ang="0">
                  <a:pos x="1082" y="1559"/>
                </a:cxn>
                <a:cxn ang="0">
                  <a:pos x="1142" y="1659"/>
                </a:cxn>
                <a:cxn ang="0">
                  <a:pos x="900" y="1929"/>
                </a:cxn>
                <a:cxn ang="0">
                  <a:pos x="795" y="2043"/>
                </a:cxn>
                <a:cxn ang="0">
                  <a:pos x="644" y="2190"/>
                </a:cxn>
                <a:cxn ang="0">
                  <a:pos x="405" y="2104"/>
                </a:cxn>
                <a:cxn ang="0">
                  <a:pos x="196" y="1892"/>
                </a:cxn>
                <a:cxn ang="0">
                  <a:pos x="139" y="2092"/>
                </a:cxn>
                <a:cxn ang="0">
                  <a:pos x="318" y="2082"/>
                </a:cxn>
                <a:cxn ang="0">
                  <a:pos x="589" y="2215"/>
                </a:cxn>
                <a:cxn ang="0">
                  <a:pos x="745" y="2100"/>
                </a:cxn>
                <a:cxn ang="0">
                  <a:pos x="854" y="2025"/>
                </a:cxn>
                <a:cxn ang="0">
                  <a:pos x="1160" y="1774"/>
                </a:cxn>
                <a:cxn ang="0">
                  <a:pos x="1151" y="1580"/>
                </a:cxn>
                <a:cxn ang="0">
                  <a:pos x="1215" y="1353"/>
                </a:cxn>
                <a:cxn ang="0">
                  <a:pos x="1280" y="1168"/>
                </a:cxn>
                <a:cxn ang="0">
                  <a:pos x="1331" y="959"/>
                </a:cxn>
                <a:cxn ang="0">
                  <a:pos x="1378" y="754"/>
                </a:cxn>
                <a:cxn ang="0">
                  <a:pos x="1488" y="632"/>
                </a:cxn>
                <a:cxn ang="0">
                  <a:pos x="1592" y="475"/>
                </a:cxn>
                <a:cxn ang="0">
                  <a:pos x="1591" y="309"/>
                </a:cxn>
                <a:cxn ang="0">
                  <a:pos x="1560" y="83"/>
                </a:cxn>
                <a:cxn ang="0">
                  <a:pos x="1403" y="67"/>
                </a:cxn>
                <a:cxn ang="0">
                  <a:pos x="1375" y="70"/>
                </a:cxn>
                <a:cxn ang="0">
                  <a:pos x="1422" y="41"/>
                </a:cxn>
                <a:cxn ang="0">
                  <a:pos x="1605" y="154"/>
                </a:cxn>
                <a:cxn ang="0">
                  <a:pos x="1629" y="398"/>
                </a:cxn>
                <a:cxn ang="0">
                  <a:pos x="1614" y="524"/>
                </a:cxn>
                <a:cxn ang="0">
                  <a:pos x="1441" y="739"/>
                </a:cxn>
                <a:cxn ang="0">
                  <a:pos x="1396" y="818"/>
                </a:cxn>
                <a:cxn ang="0">
                  <a:pos x="1337" y="989"/>
                </a:cxn>
                <a:cxn ang="0">
                  <a:pos x="1247" y="1249"/>
                </a:cxn>
                <a:cxn ang="0">
                  <a:pos x="1152" y="1519"/>
                </a:cxn>
                <a:cxn ang="0">
                  <a:pos x="1194" y="1647"/>
                </a:cxn>
                <a:cxn ang="0">
                  <a:pos x="1056" y="1910"/>
                </a:cxn>
                <a:cxn ang="0">
                  <a:pos x="869" y="2044"/>
                </a:cxn>
                <a:cxn ang="0">
                  <a:pos x="691" y="2216"/>
                </a:cxn>
                <a:cxn ang="0">
                  <a:pos x="446" y="2175"/>
                </a:cxn>
                <a:cxn ang="0">
                  <a:pos x="200" y="1983"/>
                </a:cxn>
              </a:cxnLst>
              <a:rect l="0" t="0" r="r" b="b"/>
              <a:pathLst>
                <a:path w="1630" h="2442">
                  <a:moveTo>
                    <a:pt x="0" y="2425"/>
                  </a:moveTo>
                  <a:lnTo>
                    <a:pt x="22" y="2329"/>
                  </a:lnTo>
                  <a:lnTo>
                    <a:pt x="46" y="2237"/>
                  </a:lnTo>
                  <a:lnTo>
                    <a:pt x="67" y="2152"/>
                  </a:lnTo>
                  <a:lnTo>
                    <a:pt x="88" y="2077"/>
                  </a:lnTo>
                  <a:lnTo>
                    <a:pt x="109" y="2012"/>
                  </a:lnTo>
                  <a:lnTo>
                    <a:pt x="131" y="1956"/>
                  </a:lnTo>
                  <a:lnTo>
                    <a:pt x="151" y="1912"/>
                  </a:lnTo>
                  <a:cubicBezTo>
                    <a:pt x="152" y="1910"/>
                    <a:pt x="153" y="1909"/>
                    <a:pt x="154" y="1907"/>
                  </a:cubicBezTo>
                  <a:lnTo>
                    <a:pt x="170" y="1882"/>
                  </a:lnTo>
                  <a:cubicBezTo>
                    <a:pt x="173" y="1877"/>
                    <a:pt x="177" y="1873"/>
                    <a:pt x="181" y="1870"/>
                  </a:cubicBezTo>
                  <a:lnTo>
                    <a:pt x="187" y="1866"/>
                  </a:lnTo>
                  <a:cubicBezTo>
                    <a:pt x="199" y="1858"/>
                    <a:pt x="215" y="1857"/>
                    <a:pt x="227" y="1864"/>
                  </a:cubicBezTo>
                  <a:lnTo>
                    <a:pt x="233" y="1867"/>
                  </a:lnTo>
                  <a:cubicBezTo>
                    <a:pt x="242" y="1871"/>
                    <a:pt x="249" y="1879"/>
                    <a:pt x="253" y="1888"/>
                  </a:cubicBezTo>
                  <a:lnTo>
                    <a:pt x="261" y="1908"/>
                  </a:lnTo>
                  <a:lnTo>
                    <a:pt x="269" y="1939"/>
                  </a:lnTo>
                  <a:lnTo>
                    <a:pt x="272" y="1948"/>
                  </a:lnTo>
                  <a:lnTo>
                    <a:pt x="283" y="1959"/>
                  </a:lnTo>
                  <a:lnTo>
                    <a:pt x="300" y="1976"/>
                  </a:lnTo>
                  <a:lnTo>
                    <a:pt x="328" y="2013"/>
                  </a:lnTo>
                  <a:lnTo>
                    <a:pt x="342" y="2031"/>
                  </a:lnTo>
                  <a:lnTo>
                    <a:pt x="350" y="2039"/>
                  </a:lnTo>
                  <a:lnTo>
                    <a:pt x="375" y="2054"/>
                  </a:lnTo>
                  <a:lnTo>
                    <a:pt x="398" y="2064"/>
                  </a:lnTo>
                  <a:cubicBezTo>
                    <a:pt x="402" y="2066"/>
                    <a:pt x="405" y="2068"/>
                    <a:pt x="409" y="2071"/>
                  </a:cubicBezTo>
                  <a:lnTo>
                    <a:pt x="423" y="2084"/>
                  </a:lnTo>
                  <a:lnTo>
                    <a:pt x="429" y="2091"/>
                  </a:lnTo>
                  <a:lnTo>
                    <a:pt x="434" y="2093"/>
                  </a:lnTo>
                  <a:lnTo>
                    <a:pt x="447" y="2095"/>
                  </a:lnTo>
                  <a:lnTo>
                    <a:pt x="474" y="2094"/>
                  </a:lnTo>
                  <a:lnTo>
                    <a:pt x="509" y="2095"/>
                  </a:lnTo>
                  <a:cubicBezTo>
                    <a:pt x="515" y="2096"/>
                    <a:pt x="522" y="2097"/>
                    <a:pt x="527" y="2101"/>
                  </a:cubicBezTo>
                  <a:lnTo>
                    <a:pt x="550" y="2114"/>
                  </a:lnTo>
                  <a:cubicBezTo>
                    <a:pt x="552" y="2115"/>
                    <a:pt x="554" y="2116"/>
                    <a:pt x="556" y="2118"/>
                  </a:cubicBezTo>
                  <a:lnTo>
                    <a:pt x="576" y="2135"/>
                  </a:lnTo>
                  <a:lnTo>
                    <a:pt x="598" y="2158"/>
                  </a:lnTo>
                  <a:lnTo>
                    <a:pt x="602" y="2161"/>
                  </a:lnTo>
                  <a:lnTo>
                    <a:pt x="599" y="2161"/>
                  </a:lnTo>
                  <a:lnTo>
                    <a:pt x="611" y="2157"/>
                  </a:lnTo>
                  <a:cubicBezTo>
                    <a:pt x="619" y="2155"/>
                    <a:pt x="629" y="2155"/>
                    <a:pt x="637" y="2158"/>
                  </a:cubicBezTo>
                  <a:lnTo>
                    <a:pt x="652" y="2164"/>
                  </a:lnTo>
                  <a:lnTo>
                    <a:pt x="646" y="2161"/>
                  </a:lnTo>
                  <a:lnTo>
                    <a:pt x="627" y="2168"/>
                  </a:lnTo>
                  <a:lnTo>
                    <a:pt x="628" y="2166"/>
                  </a:lnTo>
                  <a:lnTo>
                    <a:pt x="636" y="2154"/>
                  </a:lnTo>
                  <a:lnTo>
                    <a:pt x="655" y="2121"/>
                  </a:lnTo>
                  <a:cubicBezTo>
                    <a:pt x="656" y="2119"/>
                    <a:pt x="658" y="2116"/>
                    <a:pt x="660" y="2114"/>
                  </a:cubicBezTo>
                  <a:lnTo>
                    <a:pt x="688" y="2084"/>
                  </a:lnTo>
                  <a:lnTo>
                    <a:pt x="704" y="2069"/>
                  </a:lnTo>
                  <a:lnTo>
                    <a:pt x="716" y="2059"/>
                  </a:lnTo>
                  <a:cubicBezTo>
                    <a:pt x="720" y="2055"/>
                    <a:pt x="726" y="2052"/>
                    <a:pt x="731" y="2050"/>
                  </a:cubicBezTo>
                  <a:lnTo>
                    <a:pt x="738" y="2048"/>
                  </a:lnTo>
                  <a:cubicBezTo>
                    <a:pt x="751" y="2045"/>
                    <a:pt x="763" y="2047"/>
                    <a:pt x="773" y="2054"/>
                  </a:cubicBezTo>
                  <a:lnTo>
                    <a:pt x="777" y="2057"/>
                  </a:lnTo>
                  <a:lnTo>
                    <a:pt x="761" y="2047"/>
                  </a:lnTo>
                  <a:lnTo>
                    <a:pt x="745" y="2055"/>
                  </a:lnTo>
                  <a:lnTo>
                    <a:pt x="756" y="2044"/>
                  </a:lnTo>
                  <a:lnTo>
                    <a:pt x="776" y="2024"/>
                  </a:lnTo>
                  <a:lnTo>
                    <a:pt x="797" y="2003"/>
                  </a:lnTo>
                  <a:lnTo>
                    <a:pt x="810" y="1989"/>
                  </a:lnTo>
                  <a:cubicBezTo>
                    <a:pt x="812" y="1988"/>
                    <a:pt x="813" y="1986"/>
                    <a:pt x="814" y="1985"/>
                  </a:cubicBezTo>
                  <a:lnTo>
                    <a:pt x="819" y="1981"/>
                  </a:lnTo>
                  <a:cubicBezTo>
                    <a:pt x="833" y="1970"/>
                    <a:pt x="853" y="1970"/>
                    <a:pt x="867" y="1980"/>
                  </a:cubicBezTo>
                  <a:cubicBezTo>
                    <a:pt x="882" y="1990"/>
                    <a:pt x="888" y="2008"/>
                    <a:pt x="882" y="2025"/>
                  </a:cubicBezTo>
                  <a:lnTo>
                    <a:pt x="881" y="2028"/>
                  </a:lnTo>
                  <a:cubicBezTo>
                    <a:pt x="880" y="2031"/>
                    <a:pt x="879" y="2035"/>
                    <a:pt x="877" y="2038"/>
                  </a:cubicBezTo>
                  <a:lnTo>
                    <a:pt x="875" y="2041"/>
                  </a:lnTo>
                  <a:lnTo>
                    <a:pt x="819" y="1985"/>
                  </a:lnTo>
                  <a:lnTo>
                    <a:pt x="818" y="1986"/>
                  </a:lnTo>
                  <a:lnTo>
                    <a:pt x="824" y="1980"/>
                  </a:lnTo>
                  <a:lnTo>
                    <a:pt x="835" y="1966"/>
                  </a:lnTo>
                  <a:lnTo>
                    <a:pt x="861" y="1938"/>
                  </a:lnTo>
                  <a:lnTo>
                    <a:pt x="876" y="1916"/>
                  </a:lnTo>
                  <a:cubicBezTo>
                    <a:pt x="877" y="1914"/>
                    <a:pt x="879" y="1913"/>
                    <a:pt x="880" y="1911"/>
                  </a:cubicBezTo>
                  <a:lnTo>
                    <a:pt x="901" y="1888"/>
                  </a:lnTo>
                  <a:cubicBezTo>
                    <a:pt x="905" y="1884"/>
                    <a:pt x="909" y="1881"/>
                    <a:pt x="915" y="1879"/>
                  </a:cubicBezTo>
                  <a:lnTo>
                    <a:pt x="952" y="1863"/>
                  </a:lnTo>
                  <a:lnTo>
                    <a:pt x="994" y="1848"/>
                  </a:lnTo>
                  <a:lnTo>
                    <a:pt x="1029" y="1835"/>
                  </a:lnTo>
                  <a:lnTo>
                    <a:pt x="1054" y="1821"/>
                  </a:lnTo>
                  <a:lnTo>
                    <a:pt x="1082" y="1801"/>
                  </a:lnTo>
                  <a:lnTo>
                    <a:pt x="1102" y="1776"/>
                  </a:lnTo>
                  <a:lnTo>
                    <a:pt x="1110" y="1756"/>
                  </a:lnTo>
                  <a:lnTo>
                    <a:pt x="1115" y="1730"/>
                  </a:lnTo>
                  <a:lnTo>
                    <a:pt x="1120" y="1700"/>
                  </a:lnTo>
                  <a:lnTo>
                    <a:pt x="1122" y="1679"/>
                  </a:lnTo>
                  <a:lnTo>
                    <a:pt x="1121" y="1677"/>
                  </a:lnTo>
                  <a:lnTo>
                    <a:pt x="1123" y="1680"/>
                  </a:lnTo>
                  <a:lnTo>
                    <a:pt x="1121" y="1678"/>
                  </a:lnTo>
                  <a:cubicBezTo>
                    <a:pt x="1119" y="1674"/>
                    <a:pt x="1117" y="1670"/>
                    <a:pt x="1116" y="1665"/>
                  </a:cubicBezTo>
                  <a:lnTo>
                    <a:pt x="1114" y="1657"/>
                  </a:lnTo>
                  <a:cubicBezTo>
                    <a:pt x="1112" y="1651"/>
                    <a:pt x="1112" y="1645"/>
                    <a:pt x="1113" y="1639"/>
                  </a:cubicBezTo>
                  <a:lnTo>
                    <a:pt x="1116" y="1625"/>
                  </a:lnTo>
                  <a:lnTo>
                    <a:pt x="1122" y="1606"/>
                  </a:lnTo>
                  <a:lnTo>
                    <a:pt x="1123" y="1603"/>
                  </a:lnTo>
                  <a:lnTo>
                    <a:pt x="1129" y="1633"/>
                  </a:lnTo>
                  <a:lnTo>
                    <a:pt x="1158" y="1633"/>
                  </a:lnTo>
                  <a:lnTo>
                    <a:pt x="1149" y="1636"/>
                  </a:lnTo>
                  <a:lnTo>
                    <a:pt x="1135" y="1642"/>
                  </a:lnTo>
                  <a:cubicBezTo>
                    <a:pt x="1131" y="1643"/>
                    <a:pt x="1127" y="1644"/>
                    <a:pt x="1124" y="1644"/>
                  </a:cubicBezTo>
                  <a:lnTo>
                    <a:pt x="1112" y="1645"/>
                  </a:lnTo>
                  <a:cubicBezTo>
                    <a:pt x="1097" y="1647"/>
                    <a:pt x="1083" y="1640"/>
                    <a:pt x="1075" y="1627"/>
                  </a:cubicBezTo>
                  <a:lnTo>
                    <a:pt x="1064" y="1610"/>
                  </a:lnTo>
                  <a:cubicBezTo>
                    <a:pt x="1061" y="1605"/>
                    <a:pt x="1058" y="1599"/>
                    <a:pt x="1058" y="1593"/>
                  </a:cubicBezTo>
                  <a:lnTo>
                    <a:pt x="1055" y="1568"/>
                  </a:lnTo>
                  <a:cubicBezTo>
                    <a:pt x="1054" y="1563"/>
                    <a:pt x="1055" y="1557"/>
                    <a:pt x="1056" y="1551"/>
                  </a:cubicBezTo>
                  <a:lnTo>
                    <a:pt x="1064" y="1526"/>
                  </a:lnTo>
                  <a:lnTo>
                    <a:pt x="1075" y="1499"/>
                  </a:lnTo>
                  <a:lnTo>
                    <a:pt x="1083" y="1462"/>
                  </a:lnTo>
                  <a:lnTo>
                    <a:pt x="1094" y="1422"/>
                  </a:lnTo>
                  <a:cubicBezTo>
                    <a:pt x="1095" y="1419"/>
                    <a:pt x="1096" y="1415"/>
                    <a:pt x="1098" y="1412"/>
                  </a:cubicBezTo>
                  <a:lnTo>
                    <a:pt x="1112" y="1388"/>
                  </a:lnTo>
                  <a:cubicBezTo>
                    <a:pt x="1113" y="1386"/>
                    <a:pt x="1114" y="1385"/>
                    <a:pt x="1116" y="1383"/>
                  </a:cubicBezTo>
                  <a:lnTo>
                    <a:pt x="1131" y="1365"/>
                  </a:lnTo>
                  <a:lnTo>
                    <a:pt x="1148" y="1347"/>
                  </a:lnTo>
                  <a:lnTo>
                    <a:pt x="1162" y="1333"/>
                  </a:lnTo>
                  <a:lnTo>
                    <a:pt x="1172" y="1322"/>
                  </a:lnTo>
                  <a:lnTo>
                    <a:pt x="1174" y="1318"/>
                  </a:lnTo>
                  <a:lnTo>
                    <a:pt x="1174" y="1324"/>
                  </a:lnTo>
                  <a:lnTo>
                    <a:pt x="1172" y="1318"/>
                  </a:lnTo>
                  <a:lnTo>
                    <a:pt x="1162" y="1290"/>
                  </a:lnTo>
                  <a:cubicBezTo>
                    <a:pt x="1161" y="1284"/>
                    <a:pt x="1160" y="1278"/>
                    <a:pt x="1161" y="1272"/>
                  </a:cubicBezTo>
                  <a:lnTo>
                    <a:pt x="1165" y="1244"/>
                  </a:lnTo>
                  <a:cubicBezTo>
                    <a:pt x="1165" y="1241"/>
                    <a:pt x="1166" y="1238"/>
                    <a:pt x="1167" y="1235"/>
                  </a:cubicBezTo>
                  <a:lnTo>
                    <a:pt x="1177" y="1209"/>
                  </a:lnTo>
                  <a:cubicBezTo>
                    <a:pt x="1180" y="1202"/>
                    <a:pt x="1185" y="1195"/>
                    <a:pt x="1191" y="1191"/>
                  </a:cubicBezTo>
                  <a:lnTo>
                    <a:pt x="1208" y="1179"/>
                  </a:lnTo>
                  <a:lnTo>
                    <a:pt x="1222" y="1170"/>
                  </a:lnTo>
                  <a:lnTo>
                    <a:pt x="1225" y="1166"/>
                  </a:lnTo>
                  <a:lnTo>
                    <a:pt x="1227" y="1162"/>
                  </a:lnTo>
                  <a:lnTo>
                    <a:pt x="1229" y="1153"/>
                  </a:lnTo>
                  <a:lnTo>
                    <a:pt x="1232" y="1136"/>
                  </a:lnTo>
                  <a:lnTo>
                    <a:pt x="1237" y="1110"/>
                  </a:lnTo>
                  <a:lnTo>
                    <a:pt x="1240" y="1086"/>
                  </a:lnTo>
                  <a:lnTo>
                    <a:pt x="1243" y="1063"/>
                  </a:lnTo>
                  <a:lnTo>
                    <a:pt x="1245" y="1039"/>
                  </a:lnTo>
                  <a:lnTo>
                    <a:pt x="1248" y="1016"/>
                  </a:lnTo>
                  <a:lnTo>
                    <a:pt x="1256" y="982"/>
                  </a:lnTo>
                  <a:lnTo>
                    <a:pt x="1260" y="966"/>
                  </a:lnTo>
                  <a:lnTo>
                    <a:pt x="1263" y="956"/>
                  </a:lnTo>
                  <a:cubicBezTo>
                    <a:pt x="1265" y="950"/>
                    <a:pt x="1269" y="944"/>
                    <a:pt x="1273" y="939"/>
                  </a:cubicBezTo>
                  <a:lnTo>
                    <a:pt x="1276" y="936"/>
                  </a:lnTo>
                  <a:cubicBezTo>
                    <a:pt x="1292" y="921"/>
                    <a:pt x="1317" y="921"/>
                    <a:pt x="1333" y="936"/>
                  </a:cubicBezTo>
                  <a:lnTo>
                    <a:pt x="1335" y="938"/>
                  </a:lnTo>
                  <a:lnTo>
                    <a:pt x="1319" y="923"/>
                  </a:lnTo>
                  <a:lnTo>
                    <a:pt x="1284" y="935"/>
                  </a:lnTo>
                  <a:lnTo>
                    <a:pt x="1284" y="934"/>
                  </a:lnTo>
                  <a:lnTo>
                    <a:pt x="1295" y="913"/>
                  </a:lnTo>
                  <a:lnTo>
                    <a:pt x="1313" y="874"/>
                  </a:lnTo>
                  <a:cubicBezTo>
                    <a:pt x="1315" y="870"/>
                    <a:pt x="1317" y="866"/>
                    <a:pt x="1320" y="863"/>
                  </a:cubicBezTo>
                  <a:lnTo>
                    <a:pt x="1332" y="851"/>
                  </a:lnTo>
                  <a:lnTo>
                    <a:pt x="1331" y="852"/>
                  </a:lnTo>
                  <a:lnTo>
                    <a:pt x="1334" y="869"/>
                  </a:lnTo>
                  <a:lnTo>
                    <a:pt x="1333" y="867"/>
                  </a:lnTo>
                  <a:lnTo>
                    <a:pt x="1324" y="853"/>
                  </a:lnTo>
                  <a:lnTo>
                    <a:pt x="1319" y="842"/>
                  </a:lnTo>
                  <a:cubicBezTo>
                    <a:pt x="1313" y="831"/>
                    <a:pt x="1313" y="817"/>
                    <a:pt x="1319" y="805"/>
                  </a:cubicBezTo>
                  <a:lnTo>
                    <a:pt x="1325" y="794"/>
                  </a:lnTo>
                  <a:lnTo>
                    <a:pt x="1327" y="791"/>
                  </a:lnTo>
                  <a:lnTo>
                    <a:pt x="1327" y="781"/>
                  </a:lnTo>
                  <a:lnTo>
                    <a:pt x="1325" y="757"/>
                  </a:lnTo>
                  <a:cubicBezTo>
                    <a:pt x="1324" y="754"/>
                    <a:pt x="1324" y="752"/>
                    <a:pt x="1325" y="750"/>
                  </a:cubicBezTo>
                  <a:lnTo>
                    <a:pt x="1327" y="729"/>
                  </a:lnTo>
                  <a:cubicBezTo>
                    <a:pt x="1327" y="724"/>
                    <a:pt x="1328" y="720"/>
                    <a:pt x="1330" y="716"/>
                  </a:cubicBezTo>
                  <a:lnTo>
                    <a:pt x="1337" y="701"/>
                  </a:lnTo>
                  <a:cubicBezTo>
                    <a:pt x="1343" y="688"/>
                    <a:pt x="1354" y="680"/>
                    <a:pt x="1368" y="678"/>
                  </a:cubicBezTo>
                  <a:lnTo>
                    <a:pt x="1375" y="677"/>
                  </a:lnTo>
                  <a:cubicBezTo>
                    <a:pt x="1381" y="676"/>
                    <a:pt x="1387" y="677"/>
                    <a:pt x="1393" y="679"/>
                  </a:cubicBezTo>
                  <a:lnTo>
                    <a:pt x="1398" y="680"/>
                  </a:lnTo>
                  <a:lnTo>
                    <a:pt x="1394" y="680"/>
                  </a:lnTo>
                  <a:lnTo>
                    <a:pt x="1381" y="684"/>
                  </a:lnTo>
                  <a:lnTo>
                    <a:pt x="1379" y="688"/>
                  </a:lnTo>
                  <a:lnTo>
                    <a:pt x="1384" y="674"/>
                  </a:lnTo>
                  <a:lnTo>
                    <a:pt x="1391" y="657"/>
                  </a:lnTo>
                  <a:lnTo>
                    <a:pt x="1401" y="639"/>
                  </a:lnTo>
                  <a:cubicBezTo>
                    <a:pt x="1404" y="634"/>
                    <a:pt x="1407" y="630"/>
                    <a:pt x="1410" y="627"/>
                  </a:cubicBezTo>
                  <a:lnTo>
                    <a:pt x="1431" y="609"/>
                  </a:lnTo>
                  <a:lnTo>
                    <a:pt x="1449" y="595"/>
                  </a:lnTo>
                  <a:lnTo>
                    <a:pt x="1464" y="572"/>
                  </a:lnTo>
                  <a:lnTo>
                    <a:pt x="1480" y="547"/>
                  </a:lnTo>
                  <a:cubicBezTo>
                    <a:pt x="1483" y="543"/>
                    <a:pt x="1486" y="539"/>
                    <a:pt x="1490" y="536"/>
                  </a:cubicBezTo>
                  <a:lnTo>
                    <a:pt x="1507" y="524"/>
                  </a:lnTo>
                  <a:cubicBezTo>
                    <a:pt x="1510" y="522"/>
                    <a:pt x="1514" y="520"/>
                    <a:pt x="1517" y="519"/>
                  </a:cubicBezTo>
                  <a:lnTo>
                    <a:pt x="1534" y="513"/>
                  </a:lnTo>
                  <a:lnTo>
                    <a:pt x="1549" y="507"/>
                  </a:lnTo>
                  <a:lnTo>
                    <a:pt x="1533" y="515"/>
                  </a:lnTo>
                  <a:lnTo>
                    <a:pt x="1535" y="531"/>
                  </a:lnTo>
                  <a:lnTo>
                    <a:pt x="1532" y="523"/>
                  </a:lnTo>
                  <a:cubicBezTo>
                    <a:pt x="1530" y="512"/>
                    <a:pt x="1532" y="500"/>
                    <a:pt x="1539" y="491"/>
                  </a:cubicBezTo>
                  <a:lnTo>
                    <a:pt x="1547" y="480"/>
                  </a:lnTo>
                  <a:lnTo>
                    <a:pt x="1546" y="481"/>
                  </a:lnTo>
                  <a:lnTo>
                    <a:pt x="1544" y="498"/>
                  </a:lnTo>
                  <a:lnTo>
                    <a:pt x="1546" y="501"/>
                  </a:lnTo>
                  <a:lnTo>
                    <a:pt x="1540" y="494"/>
                  </a:lnTo>
                  <a:lnTo>
                    <a:pt x="1532" y="483"/>
                  </a:lnTo>
                  <a:cubicBezTo>
                    <a:pt x="1529" y="479"/>
                    <a:pt x="1527" y="475"/>
                    <a:pt x="1526" y="471"/>
                  </a:cubicBezTo>
                  <a:lnTo>
                    <a:pt x="1523" y="461"/>
                  </a:lnTo>
                  <a:cubicBezTo>
                    <a:pt x="1521" y="453"/>
                    <a:pt x="1521" y="445"/>
                    <a:pt x="1524" y="437"/>
                  </a:cubicBezTo>
                  <a:lnTo>
                    <a:pt x="1527" y="428"/>
                  </a:lnTo>
                  <a:cubicBezTo>
                    <a:pt x="1528" y="424"/>
                    <a:pt x="1530" y="419"/>
                    <a:pt x="1533" y="416"/>
                  </a:cubicBezTo>
                  <a:lnTo>
                    <a:pt x="1540" y="407"/>
                  </a:lnTo>
                  <a:lnTo>
                    <a:pt x="1548" y="396"/>
                  </a:lnTo>
                  <a:lnTo>
                    <a:pt x="1550" y="390"/>
                  </a:lnTo>
                  <a:lnTo>
                    <a:pt x="1551" y="375"/>
                  </a:lnTo>
                  <a:lnTo>
                    <a:pt x="1550" y="352"/>
                  </a:lnTo>
                  <a:lnTo>
                    <a:pt x="1549" y="347"/>
                  </a:lnTo>
                  <a:lnTo>
                    <a:pt x="1546" y="338"/>
                  </a:lnTo>
                  <a:lnTo>
                    <a:pt x="1541" y="332"/>
                  </a:lnTo>
                  <a:lnTo>
                    <a:pt x="1532" y="324"/>
                  </a:lnTo>
                  <a:lnTo>
                    <a:pt x="1518" y="306"/>
                  </a:lnTo>
                  <a:cubicBezTo>
                    <a:pt x="1516" y="303"/>
                    <a:pt x="1514" y="300"/>
                    <a:pt x="1512" y="297"/>
                  </a:cubicBezTo>
                  <a:lnTo>
                    <a:pt x="1505" y="280"/>
                  </a:lnTo>
                  <a:cubicBezTo>
                    <a:pt x="1503" y="275"/>
                    <a:pt x="1502" y="270"/>
                    <a:pt x="1502" y="264"/>
                  </a:cubicBezTo>
                  <a:lnTo>
                    <a:pt x="1502" y="242"/>
                  </a:lnTo>
                  <a:cubicBezTo>
                    <a:pt x="1502" y="240"/>
                    <a:pt x="1503" y="238"/>
                    <a:pt x="1503" y="236"/>
                  </a:cubicBezTo>
                  <a:lnTo>
                    <a:pt x="1507" y="210"/>
                  </a:lnTo>
                  <a:lnTo>
                    <a:pt x="1512" y="183"/>
                  </a:lnTo>
                  <a:lnTo>
                    <a:pt x="1517" y="160"/>
                  </a:lnTo>
                  <a:lnTo>
                    <a:pt x="1530" y="125"/>
                  </a:lnTo>
                  <a:lnTo>
                    <a:pt x="1531" y="121"/>
                  </a:lnTo>
                  <a:lnTo>
                    <a:pt x="1531" y="128"/>
                  </a:lnTo>
                  <a:lnTo>
                    <a:pt x="1533" y="130"/>
                  </a:lnTo>
                  <a:lnTo>
                    <a:pt x="1527" y="124"/>
                  </a:lnTo>
                  <a:lnTo>
                    <a:pt x="1501" y="107"/>
                  </a:lnTo>
                  <a:lnTo>
                    <a:pt x="1479" y="94"/>
                  </a:lnTo>
                  <a:lnTo>
                    <a:pt x="1473" y="92"/>
                  </a:lnTo>
                  <a:lnTo>
                    <a:pt x="1488" y="85"/>
                  </a:lnTo>
                  <a:lnTo>
                    <a:pt x="1487" y="86"/>
                  </a:lnTo>
                  <a:lnTo>
                    <a:pt x="1482" y="95"/>
                  </a:lnTo>
                  <a:cubicBezTo>
                    <a:pt x="1480" y="97"/>
                    <a:pt x="1479" y="99"/>
                    <a:pt x="1477" y="101"/>
                  </a:cubicBezTo>
                  <a:lnTo>
                    <a:pt x="1470" y="108"/>
                  </a:lnTo>
                  <a:cubicBezTo>
                    <a:pt x="1463" y="114"/>
                    <a:pt x="1455" y="118"/>
                    <a:pt x="1446" y="119"/>
                  </a:cubicBezTo>
                  <a:lnTo>
                    <a:pt x="1438" y="120"/>
                  </a:lnTo>
                  <a:cubicBezTo>
                    <a:pt x="1434" y="121"/>
                    <a:pt x="1429" y="121"/>
                    <a:pt x="1425" y="120"/>
                  </a:cubicBezTo>
                  <a:lnTo>
                    <a:pt x="1416" y="118"/>
                  </a:lnTo>
                  <a:lnTo>
                    <a:pt x="1418" y="118"/>
                  </a:lnTo>
                  <a:lnTo>
                    <a:pt x="1429" y="114"/>
                  </a:lnTo>
                  <a:lnTo>
                    <a:pt x="1429" y="115"/>
                  </a:lnTo>
                  <a:lnTo>
                    <a:pt x="1421" y="127"/>
                  </a:lnTo>
                  <a:lnTo>
                    <a:pt x="1411" y="142"/>
                  </a:lnTo>
                  <a:cubicBezTo>
                    <a:pt x="1409" y="144"/>
                    <a:pt x="1407" y="147"/>
                    <a:pt x="1404" y="149"/>
                  </a:cubicBezTo>
                  <a:lnTo>
                    <a:pt x="1395" y="157"/>
                  </a:lnTo>
                  <a:cubicBezTo>
                    <a:pt x="1386" y="165"/>
                    <a:pt x="1374" y="169"/>
                    <a:pt x="1362" y="167"/>
                  </a:cubicBezTo>
                  <a:lnTo>
                    <a:pt x="1349" y="165"/>
                  </a:lnTo>
                  <a:cubicBezTo>
                    <a:pt x="1338" y="163"/>
                    <a:pt x="1329" y="157"/>
                    <a:pt x="1323" y="148"/>
                  </a:cubicBezTo>
                  <a:lnTo>
                    <a:pt x="1312" y="132"/>
                  </a:lnTo>
                  <a:cubicBezTo>
                    <a:pt x="1309" y="129"/>
                    <a:pt x="1307" y="125"/>
                    <a:pt x="1306" y="120"/>
                  </a:cubicBezTo>
                  <a:lnTo>
                    <a:pt x="1298" y="92"/>
                  </a:lnTo>
                  <a:lnTo>
                    <a:pt x="1291" y="57"/>
                  </a:lnTo>
                  <a:cubicBezTo>
                    <a:pt x="1291" y="55"/>
                    <a:pt x="1291" y="53"/>
                    <a:pt x="1290" y="51"/>
                  </a:cubicBezTo>
                  <a:lnTo>
                    <a:pt x="1289" y="24"/>
                  </a:lnTo>
                  <a:lnTo>
                    <a:pt x="1291" y="0"/>
                  </a:lnTo>
                  <a:lnTo>
                    <a:pt x="1317" y="1"/>
                  </a:lnTo>
                  <a:lnTo>
                    <a:pt x="1316" y="23"/>
                  </a:lnTo>
                  <a:lnTo>
                    <a:pt x="1317" y="50"/>
                  </a:lnTo>
                  <a:cubicBezTo>
                    <a:pt x="1317" y="51"/>
                    <a:pt x="1317" y="51"/>
                    <a:pt x="1317" y="52"/>
                  </a:cubicBezTo>
                  <a:lnTo>
                    <a:pt x="1324" y="85"/>
                  </a:lnTo>
                  <a:lnTo>
                    <a:pt x="1332" y="113"/>
                  </a:lnTo>
                  <a:cubicBezTo>
                    <a:pt x="1332" y="115"/>
                    <a:pt x="1333" y="116"/>
                    <a:pt x="1333" y="117"/>
                  </a:cubicBezTo>
                  <a:lnTo>
                    <a:pt x="1344" y="133"/>
                  </a:lnTo>
                  <a:cubicBezTo>
                    <a:pt x="1347" y="136"/>
                    <a:pt x="1350" y="138"/>
                    <a:pt x="1353" y="139"/>
                  </a:cubicBezTo>
                  <a:lnTo>
                    <a:pt x="1366" y="141"/>
                  </a:lnTo>
                  <a:cubicBezTo>
                    <a:pt x="1370" y="141"/>
                    <a:pt x="1374" y="140"/>
                    <a:pt x="1377" y="137"/>
                  </a:cubicBezTo>
                  <a:lnTo>
                    <a:pt x="1386" y="129"/>
                  </a:lnTo>
                  <a:cubicBezTo>
                    <a:pt x="1387" y="129"/>
                    <a:pt x="1388" y="128"/>
                    <a:pt x="1389" y="127"/>
                  </a:cubicBezTo>
                  <a:lnTo>
                    <a:pt x="1399" y="112"/>
                  </a:lnTo>
                  <a:lnTo>
                    <a:pt x="1408" y="98"/>
                  </a:lnTo>
                  <a:lnTo>
                    <a:pt x="1415" y="91"/>
                  </a:lnTo>
                  <a:lnTo>
                    <a:pt x="1417" y="90"/>
                  </a:lnTo>
                  <a:lnTo>
                    <a:pt x="1422" y="91"/>
                  </a:lnTo>
                  <a:lnTo>
                    <a:pt x="1431" y="93"/>
                  </a:lnTo>
                  <a:cubicBezTo>
                    <a:pt x="1432" y="94"/>
                    <a:pt x="1434" y="94"/>
                    <a:pt x="1435" y="94"/>
                  </a:cubicBezTo>
                  <a:lnTo>
                    <a:pt x="1443" y="93"/>
                  </a:lnTo>
                  <a:cubicBezTo>
                    <a:pt x="1446" y="92"/>
                    <a:pt x="1449" y="91"/>
                    <a:pt x="1451" y="89"/>
                  </a:cubicBezTo>
                  <a:lnTo>
                    <a:pt x="1458" y="82"/>
                  </a:lnTo>
                  <a:cubicBezTo>
                    <a:pt x="1459" y="81"/>
                    <a:pt x="1459" y="81"/>
                    <a:pt x="1460" y="80"/>
                  </a:cubicBezTo>
                  <a:lnTo>
                    <a:pt x="1465" y="71"/>
                  </a:lnTo>
                  <a:lnTo>
                    <a:pt x="1470" y="64"/>
                  </a:lnTo>
                  <a:lnTo>
                    <a:pt x="1471" y="64"/>
                  </a:lnTo>
                  <a:lnTo>
                    <a:pt x="1490" y="70"/>
                  </a:lnTo>
                  <a:lnTo>
                    <a:pt x="1515" y="85"/>
                  </a:lnTo>
                  <a:lnTo>
                    <a:pt x="1543" y="103"/>
                  </a:lnTo>
                  <a:lnTo>
                    <a:pt x="1553" y="112"/>
                  </a:lnTo>
                  <a:lnTo>
                    <a:pt x="1558" y="120"/>
                  </a:lnTo>
                  <a:lnTo>
                    <a:pt x="1558" y="125"/>
                  </a:lnTo>
                  <a:lnTo>
                    <a:pt x="1555" y="135"/>
                  </a:lnTo>
                  <a:lnTo>
                    <a:pt x="1543" y="166"/>
                  </a:lnTo>
                  <a:lnTo>
                    <a:pt x="1538" y="188"/>
                  </a:lnTo>
                  <a:lnTo>
                    <a:pt x="1533" y="214"/>
                  </a:lnTo>
                  <a:lnTo>
                    <a:pt x="1529" y="240"/>
                  </a:lnTo>
                  <a:cubicBezTo>
                    <a:pt x="1529" y="241"/>
                    <a:pt x="1529" y="242"/>
                    <a:pt x="1529" y="242"/>
                  </a:cubicBezTo>
                  <a:lnTo>
                    <a:pt x="1529" y="264"/>
                  </a:lnTo>
                  <a:cubicBezTo>
                    <a:pt x="1529" y="266"/>
                    <a:pt x="1529" y="268"/>
                    <a:pt x="1530" y="270"/>
                  </a:cubicBezTo>
                  <a:lnTo>
                    <a:pt x="1537" y="287"/>
                  </a:lnTo>
                  <a:cubicBezTo>
                    <a:pt x="1538" y="288"/>
                    <a:pt x="1538" y="289"/>
                    <a:pt x="1539" y="290"/>
                  </a:cubicBezTo>
                  <a:lnTo>
                    <a:pt x="1551" y="305"/>
                  </a:lnTo>
                  <a:lnTo>
                    <a:pt x="1561" y="315"/>
                  </a:lnTo>
                  <a:lnTo>
                    <a:pt x="1569" y="324"/>
                  </a:lnTo>
                  <a:lnTo>
                    <a:pt x="1575" y="339"/>
                  </a:lnTo>
                  <a:lnTo>
                    <a:pt x="1577" y="349"/>
                  </a:lnTo>
                  <a:lnTo>
                    <a:pt x="1577" y="377"/>
                  </a:lnTo>
                  <a:lnTo>
                    <a:pt x="1576" y="394"/>
                  </a:lnTo>
                  <a:lnTo>
                    <a:pt x="1573" y="408"/>
                  </a:lnTo>
                  <a:lnTo>
                    <a:pt x="1561" y="423"/>
                  </a:lnTo>
                  <a:lnTo>
                    <a:pt x="1554" y="432"/>
                  </a:lnTo>
                  <a:cubicBezTo>
                    <a:pt x="1553" y="433"/>
                    <a:pt x="1552" y="435"/>
                    <a:pt x="1552" y="436"/>
                  </a:cubicBezTo>
                  <a:lnTo>
                    <a:pt x="1549" y="445"/>
                  </a:lnTo>
                  <a:cubicBezTo>
                    <a:pt x="1548" y="448"/>
                    <a:pt x="1548" y="451"/>
                    <a:pt x="1549" y="453"/>
                  </a:cubicBezTo>
                  <a:lnTo>
                    <a:pt x="1552" y="463"/>
                  </a:lnTo>
                  <a:cubicBezTo>
                    <a:pt x="1552" y="465"/>
                    <a:pt x="1553" y="466"/>
                    <a:pt x="1554" y="467"/>
                  </a:cubicBezTo>
                  <a:lnTo>
                    <a:pt x="1562" y="478"/>
                  </a:lnTo>
                  <a:lnTo>
                    <a:pt x="1569" y="488"/>
                  </a:lnTo>
                  <a:lnTo>
                    <a:pt x="1572" y="493"/>
                  </a:lnTo>
                  <a:lnTo>
                    <a:pt x="1572" y="492"/>
                  </a:lnTo>
                  <a:lnTo>
                    <a:pt x="1569" y="496"/>
                  </a:lnTo>
                  <a:lnTo>
                    <a:pt x="1561" y="507"/>
                  </a:lnTo>
                  <a:cubicBezTo>
                    <a:pt x="1558" y="510"/>
                    <a:pt x="1558" y="514"/>
                    <a:pt x="1558" y="517"/>
                  </a:cubicBezTo>
                  <a:lnTo>
                    <a:pt x="1561" y="529"/>
                  </a:lnTo>
                  <a:lnTo>
                    <a:pt x="1561" y="531"/>
                  </a:lnTo>
                  <a:lnTo>
                    <a:pt x="1559" y="532"/>
                  </a:lnTo>
                  <a:lnTo>
                    <a:pt x="1543" y="538"/>
                  </a:lnTo>
                  <a:lnTo>
                    <a:pt x="1526" y="544"/>
                  </a:lnTo>
                  <a:cubicBezTo>
                    <a:pt x="1525" y="544"/>
                    <a:pt x="1524" y="545"/>
                    <a:pt x="1523" y="546"/>
                  </a:cubicBezTo>
                  <a:lnTo>
                    <a:pt x="1506" y="558"/>
                  </a:lnTo>
                  <a:cubicBezTo>
                    <a:pt x="1504" y="559"/>
                    <a:pt x="1503" y="560"/>
                    <a:pt x="1502" y="561"/>
                  </a:cubicBezTo>
                  <a:lnTo>
                    <a:pt x="1486" y="586"/>
                  </a:lnTo>
                  <a:lnTo>
                    <a:pt x="1469" y="612"/>
                  </a:lnTo>
                  <a:lnTo>
                    <a:pt x="1449" y="629"/>
                  </a:lnTo>
                  <a:lnTo>
                    <a:pt x="1428" y="647"/>
                  </a:lnTo>
                  <a:cubicBezTo>
                    <a:pt x="1427" y="648"/>
                    <a:pt x="1425" y="650"/>
                    <a:pt x="1425" y="651"/>
                  </a:cubicBezTo>
                  <a:lnTo>
                    <a:pt x="1416" y="667"/>
                  </a:lnTo>
                  <a:lnTo>
                    <a:pt x="1409" y="684"/>
                  </a:lnTo>
                  <a:lnTo>
                    <a:pt x="1403" y="700"/>
                  </a:lnTo>
                  <a:lnTo>
                    <a:pt x="1399" y="706"/>
                  </a:lnTo>
                  <a:lnTo>
                    <a:pt x="1397" y="707"/>
                  </a:lnTo>
                  <a:lnTo>
                    <a:pt x="1392" y="706"/>
                  </a:lnTo>
                  <a:lnTo>
                    <a:pt x="1385" y="704"/>
                  </a:lnTo>
                  <a:cubicBezTo>
                    <a:pt x="1383" y="703"/>
                    <a:pt x="1381" y="703"/>
                    <a:pt x="1379" y="703"/>
                  </a:cubicBezTo>
                  <a:lnTo>
                    <a:pt x="1372" y="704"/>
                  </a:lnTo>
                  <a:cubicBezTo>
                    <a:pt x="1367" y="705"/>
                    <a:pt x="1363" y="708"/>
                    <a:pt x="1361" y="712"/>
                  </a:cubicBezTo>
                  <a:lnTo>
                    <a:pt x="1354" y="727"/>
                  </a:lnTo>
                  <a:cubicBezTo>
                    <a:pt x="1354" y="728"/>
                    <a:pt x="1353" y="730"/>
                    <a:pt x="1353" y="731"/>
                  </a:cubicBezTo>
                  <a:lnTo>
                    <a:pt x="1351" y="752"/>
                  </a:lnTo>
                  <a:cubicBezTo>
                    <a:pt x="1351" y="753"/>
                    <a:pt x="1351" y="754"/>
                    <a:pt x="1351" y="755"/>
                  </a:cubicBezTo>
                  <a:lnTo>
                    <a:pt x="1353" y="779"/>
                  </a:lnTo>
                  <a:lnTo>
                    <a:pt x="1355" y="797"/>
                  </a:lnTo>
                  <a:lnTo>
                    <a:pt x="1349" y="807"/>
                  </a:lnTo>
                  <a:lnTo>
                    <a:pt x="1343" y="818"/>
                  </a:lnTo>
                  <a:cubicBezTo>
                    <a:pt x="1341" y="822"/>
                    <a:pt x="1341" y="827"/>
                    <a:pt x="1343" y="830"/>
                  </a:cubicBezTo>
                  <a:lnTo>
                    <a:pt x="1347" y="839"/>
                  </a:lnTo>
                  <a:lnTo>
                    <a:pt x="1354" y="851"/>
                  </a:lnTo>
                  <a:lnTo>
                    <a:pt x="1359" y="857"/>
                  </a:lnTo>
                  <a:lnTo>
                    <a:pt x="1359" y="858"/>
                  </a:lnTo>
                  <a:lnTo>
                    <a:pt x="1353" y="867"/>
                  </a:lnTo>
                  <a:lnTo>
                    <a:pt x="1340" y="881"/>
                  </a:lnTo>
                  <a:cubicBezTo>
                    <a:pt x="1339" y="882"/>
                    <a:pt x="1338" y="884"/>
                    <a:pt x="1337" y="885"/>
                  </a:cubicBezTo>
                  <a:lnTo>
                    <a:pt x="1319" y="925"/>
                  </a:lnTo>
                  <a:lnTo>
                    <a:pt x="1308" y="946"/>
                  </a:lnTo>
                  <a:lnTo>
                    <a:pt x="1302" y="956"/>
                  </a:lnTo>
                  <a:lnTo>
                    <a:pt x="1312" y="953"/>
                  </a:lnTo>
                  <a:lnTo>
                    <a:pt x="1316" y="957"/>
                  </a:lnTo>
                  <a:lnTo>
                    <a:pt x="1314" y="955"/>
                  </a:lnTo>
                  <a:cubicBezTo>
                    <a:pt x="1309" y="950"/>
                    <a:pt x="1300" y="950"/>
                    <a:pt x="1295" y="955"/>
                  </a:cubicBezTo>
                  <a:lnTo>
                    <a:pt x="1292" y="958"/>
                  </a:lnTo>
                  <a:cubicBezTo>
                    <a:pt x="1290" y="960"/>
                    <a:pt x="1289" y="962"/>
                    <a:pt x="1289" y="964"/>
                  </a:cubicBezTo>
                  <a:lnTo>
                    <a:pt x="1286" y="974"/>
                  </a:lnTo>
                  <a:lnTo>
                    <a:pt x="1281" y="988"/>
                  </a:lnTo>
                  <a:lnTo>
                    <a:pt x="1274" y="1020"/>
                  </a:lnTo>
                  <a:lnTo>
                    <a:pt x="1271" y="1041"/>
                  </a:lnTo>
                  <a:lnTo>
                    <a:pt x="1269" y="1067"/>
                  </a:lnTo>
                  <a:lnTo>
                    <a:pt x="1266" y="1089"/>
                  </a:lnTo>
                  <a:lnTo>
                    <a:pt x="1263" y="1115"/>
                  </a:lnTo>
                  <a:lnTo>
                    <a:pt x="1258" y="1141"/>
                  </a:lnTo>
                  <a:lnTo>
                    <a:pt x="1255" y="1161"/>
                  </a:lnTo>
                  <a:lnTo>
                    <a:pt x="1251" y="1173"/>
                  </a:lnTo>
                  <a:lnTo>
                    <a:pt x="1248" y="1180"/>
                  </a:lnTo>
                  <a:lnTo>
                    <a:pt x="1240" y="1190"/>
                  </a:lnTo>
                  <a:lnTo>
                    <a:pt x="1224" y="1201"/>
                  </a:lnTo>
                  <a:lnTo>
                    <a:pt x="1207" y="1213"/>
                  </a:lnTo>
                  <a:cubicBezTo>
                    <a:pt x="1205" y="1214"/>
                    <a:pt x="1203" y="1216"/>
                    <a:pt x="1202" y="1219"/>
                  </a:cubicBezTo>
                  <a:lnTo>
                    <a:pt x="1192" y="1245"/>
                  </a:lnTo>
                  <a:cubicBezTo>
                    <a:pt x="1192" y="1246"/>
                    <a:pt x="1191" y="1247"/>
                    <a:pt x="1191" y="1248"/>
                  </a:cubicBezTo>
                  <a:lnTo>
                    <a:pt x="1187" y="1276"/>
                  </a:lnTo>
                  <a:cubicBezTo>
                    <a:pt x="1187" y="1278"/>
                    <a:pt x="1187" y="1280"/>
                    <a:pt x="1188" y="1282"/>
                  </a:cubicBezTo>
                  <a:lnTo>
                    <a:pt x="1196" y="1308"/>
                  </a:lnTo>
                  <a:lnTo>
                    <a:pt x="1200" y="1318"/>
                  </a:lnTo>
                  <a:lnTo>
                    <a:pt x="1201" y="1323"/>
                  </a:lnTo>
                  <a:lnTo>
                    <a:pt x="1194" y="1337"/>
                  </a:lnTo>
                  <a:lnTo>
                    <a:pt x="1181" y="1352"/>
                  </a:lnTo>
                  <a:lnTo>
                    <a:pt x="1167" y="1366"/>
                  </a:lnTo>
                  <a:lnTo>
                    <a:pt x="1151" y="1382"/>
                  </a:lnTo>
                  <a:lnTo>
                    <a:pt x="1136" y="1400"/>
                  </a:lnTo>
                  <a:cubicBezTo>
                    <a:pt x="1136" y="1400"/>
                    <a:pt x="1135" y="1401"/>
                    <a:pt x="1135" y="1402"/>
                  </a:cubicBezTo>
                  <a:lnTo>
                    <a:pt x="1121" y="1426"/>
                  </a:lnTo>
                  <a:cubicBezTo>
                    <a:pt x="1120" y="1427"/>
                    <a:pt x="1120" y="1428"/>
                    <a:pt x="1120" y="1429"/>
                  </a:cubicBezTo>
                  <a:lnTo>
                    <a:pt x="1109" y="1468"/>
                  </a:lnTo>
                  <a:lnTo>
                    <a:pt x="1101" y="1507"/>
                  </a:lnTo>
                  <a:lnTo>
                    <a:pt x="1090" y="1534"/>
                  </a:lnTo>
                  <a:lnTo>
                    <a:pt x="1082" y="1559"/>
                  </a:lnTo>
                  <a:cubicBezTo>
                    <a:pt x="1081" y="1561"/>
                    <a:pt x="1081" y="1563"/>
                    <a:pt x="1081" y="1565"/>
                  </a:cubicBezTo>
                  <a:lnTo>
                    <a:pt x="1084" y="1590"/>
                  </a:lnTo>
                  <a:cubicBezTo>
                    <a:pt x="1084" y="1592"/>
                    <a:pt x="1085" y="1594"/>
                    <a:pt x="1086" y="1596"/>
                  </a:cubicBezTo>
                  <a:lnTo>
                    <a:pt x="1097" y="1613"/>
                  </a:lnTo>
                  <a:cubicBezTo>
                    <a:pt x="1100" y="1617"/>
                    <a:pt x="1105" y="1619"/>
                    <a:pt x="1110" y="1619"/>
                  </a:cubicBezTo>
                  <a:lnTo>
                    <a:pt x="1122" y="1618"/>
                  </a:lnTo>
                  <a:cubicBezTo>
                    <a:pt x="1123" y="1618"/>
                    <a:pt x="1124" y="1617"/>
                    <a:pt x="1125" y="1617"/>
                  </a:cubicBezTo>
                  <a:lnTo>
                    <a:pt x="1141" y="1611"/>
                  </a:lnTo>
                  <a:lnTo>
                    <a:pt x="1154" y="1607"/>
                  </a:lnTo>
                  <a:lnTo>
                    <a:pt x="1151" y="1607"/>
                  </a:lnTo>
                  <a:lnTo>
                    <a:pt x="1150" y="1603"/>
                  </a:lnTo>
                  <a:lnTo>
                    <a:pt x="1148" y="1613"/>
                  </a:lnTo>
                  <a:lnTo>
                    <a:pt x="1142" y="1631"/>
                  </a:lnTo>
                  <a:lnTo>
                    <a:pt x="1139" y="1645"/>
                  </a:lnTo>
                  <a:cubicBezTo>
                    <a:pt x="1139" y="1647"/>
                    <a:pt x="1139" y="1649"/>
                    <a:pt x="1140" y="1651"/>
                  </a:cubicBezTo>
                  <a:lnTo>
                    <a:pt x="1142" y="1659"/>
                  </a:lnTo>
                  <a:cubicBezTo>
                    <a:pt x="1142" y="1660"/>
                    <a:pt x="1143" y="1662"/>
                    <a:pt x="1143" y="1663"/>
                  </a:cubicBezTo>
                  <a:lnTo>
                    <a:pt x="1147" y="1668"/>
                  </a:lnTo>
                  <a:lnTo>
                    <a:pt x="1148" y="1672"/>
                  </a:lnTo>
                  <a:lnTo>
                    <a:pt x="1148" y="1681"/>
                  </a:lnTo>
                  <a:lnTo>
                    <a:pt x="1146" y="1704"/>
                  </a:lnTo>
                  <a:lnTo>
                    <a:pt x="1141" y="1736"/>
                  </a:lnTo>
                  <a:lnTo>
                    <a:pt x="1135" y="1765"/>
                  </a:lnTo>
                  <a:lnTo>
                    <a:pt x="1126" y="1790"/>
                  </a:lnTo>
                  <a:lnTo>
                    <a:pt x="1100" y="1821"/>
                  </a:lnTo>
                  <a:lnTo>
                    <a:pt x="1068" y="1844"/>
                  </a:lnTo>
                  <a:lnTo>
                    <a:pt x="1038" y="1860"/>
                  </a:lnTo>
                  <a:lnTo>
                    <a:pt x="1003" y="1873"/>
                  </a:lnTo>
                  <a:lnTo>
                    <a:pt x="962" y="1887"/>
                  </a:lnTo>
                  <a:lnTo>
                    <a:pt x="925" y="1903"/>
                  </a:lnTo>
                  <a:cubicBezTo>
                    <a:pt x="923" y="1904"/>
                    <a:pt x="922" y="1905"/>
                    <a:pt x="921" y="1906"/>
                  </a:cubicBezTo>
                  <a:lnTo>
                    <a:pt x="900" y="1929"/>
                  </a:lnTo>
                  <a:cubicBezTo>
                    <a:pt x="899" y="1930"/>
                    <a:pt x="899" y="1930"/>
                    <a:pt x="898" y="1931"/>
                  </a:cubicBezTo>
                  <a:lnTo>
                    <a:pt x="882" y="1955"/>
                  </a:lnTo>
                  <a:lnTo>
                    <a:pt x="855" y="1984"/>
                  </a:lnTo>
                  <a:lnTo>
                    <a:pt x="844" y="1998"/>
                  </a:lnTo>
                  <a:lnTo>
                    <a:pt x="836" y="2006"/>
                  </a:lnTo>
                  <a:lnTo>
                    <a:pt x="834" y="2007"/>
                  </a:lnTo>
                  <a:lnTo>
                    <a:pt x="853" y="2026"/>
                  </a:lnTo>
                  <a:lnTo>
                    <a:pt x="855" y="2023"/>
                  </a:lnTo>
                  <a:cubicBezTo>
                    <a:pt x="855" y="2022"/>
                    <a:pt x="856" y="2021"/>
                    <a:pt x="856" y="2020"/>
                  </a:cubicBezTo>
                  <a:lnTo>
                    <a:pt x="857" y="2017"/>
                  </a:lnTo>
                  <a:cubicBezTo>
                    <a:pt x="859" y="2011"/>
                    <a:pt x="857" y="2005"/>
                    <a:pt x="852" y="2002"/>
                  </a:cubicBezTo>
                  <a:cubicBezTo>
                    <a:pt x="847" y="1998"/>
                    <a:pt x="841" y="1998"/>
                    <a:pt x="836" y="2002"/>
                  </a:cubicBezTo>
                  <a:lnTo>
                    <a:pt x="831" y="2006"/>
                  </a:lnTo>
                  <a:cubicBezTo>
                    <a:pt x="831" y="2006"/>
                    <a:pt x="830" y="2007"/>
                    <a:pt x="830" y="2007"/>
                  </a:cubicBezTo>
                  <a:lnTo>
                    <a:pt x="816" y="2022"/>
                  </a:lnTo>
                  <a:lnTo>
                    <a:pt x="795" y="2043"/>
                  </a:lnTo>
                  <a:lnTo>
                    <a:pt x="774" y="2064"/>
                  </a:lnTo>
                  <a:lnTo>
                    <a:pt x="760" y="2077"/>
                  </a:lnTo>
                  <a:lnTo>
                    <a:pt x="759" y="2077"/>
                  </a:lnTo>
                  <a:lnTo>
                    <a:pt x="761" y="2079"/>
                  </a:lnTo>
                  <a:lnTo>
                    <a:pt x="757" y="2076"/>
                  </a:lnTo>
                  <a:cubicBezTo>
                    <a:pt x="754" y="2073"/>
                    <a:pt x="750" y="2072"/>
                    <a:pt x="746" y="2074"/>
                  </a:cubicBezTo>
                  <a:lnTo>
                    <a:pt x="739" y="2076"/>
                  </a:lnTo>
                  <a:cubicBezTo>
                    <a:pt x="737" y="2076"/>
                    <a:pt x="735" y="2077"/>
                    <a:pt x="733" y="2079"/>
                  </a:cubicBezTo>
                  <a:lnTo>
                    <a:pt x="722" y="2089"/>
                  </a:lnTo>
                  <a:lnTo>
                    <a:pt x="708" y="2102"/>
                  </a:lnTo>
                  <a:lnTo>
                    <a:pt x="680" y="2132"/>
                  </a:lnTo>
                  <a:cubicBezTo>
                    <a:pt x="679" y="2133"/>
                    <a:pt x="678" y="2134"/>
                    <a:pt x="678" y="2135"/>
                  </a:cubicBezTo>
                  <a:lnTo>
                    <a:pt x="658" y="2168"/>
                  </a:lnTo>
                  <a:lnTo>
                    <a:pt x="649" y="2183"/>
                  </a:lnTo>
                  <a:lnTo>
                    <a:pt x="643" y="2190"/>
                  </a:lnTo>
                  <a:lnTo>
                    <a:pt x="644" y="2190"/>
                  </a:lnTo>
                  <a:lnTo>
                    <a:pt x="642" y="2189"/>
                  </a:lnTo>
                  <a:lnTo>
                    <a:pt x="627" y="2183"/>
                  </a:lnTo>
                  <a:cubicBezTo>
                    <a:pt x="625" y="2182"/>
                    <a:pt x="621" y="2182"/>
                    <a:pt x="618" y="2183"/>
                  </a:cubicBezTo>
                  <a:lnTo>
                    <a:pt x="604" y="2187"/>
                  </a:lnTo>
                  <a:lnTo>
                    <a:pt x="593" y="2188"/>
                  </a:lnTo>
                  <a:lnTo>
                    <a:pt x="579" y="2176"/>
                  </a:lnTo>
                  <a:lnTo>
                    <a:pt x="559" y="2155"/>
                  </a:lnTo>
                  <a:lnTo>
                    <a:pt x="539" y="2138"/>
                  </a:lnTo>
                  <a:cubicBezTo>
                    <a:pt x="538" y="2138"/>
                    <a:pt x="538" y="2137"/>
                    <a:pt x="537" y="2137"/>
                  </a:cubicBezTo>
                  <a:lnTo>
                    <a:pt x="514" y="2124"/>
                  </a:lnTo>
                  <a:cubicBezTo>
                    <a:pt x="512" y="2123"/>
                    <a:pt x="510" y="2122"/>
                    <a:pt x="508" y="2122"/>
                  </a:cubicBezTo>
                  <a:lnTo>
                    <a:pt x="475" y="2121"/>
                  </a:lnTo>
                  <a:lnTo>
                    <a:pt x="445" y="2122"/>
                  </a:lnTo>
                  <a:lnTo>
                    <a:pt x="426" y="2119"/>
                  </a:lnTo>
                  <a:lnTo>
                    <a:pt x="413" y="2113"/>
                  </a:lnTo>
                  <a:lnTo>
                    <a:pt x="405" y="2104"/>
                  </a:lnTo>
                  <a:lnTo>
                    <a:pt x="391" y="2091"/>
                  </a:lnTo>
                  <a:cubicBezTo>
                    <a:pt x="389" y="2090"/>
                    <a:pt x="388" y="2089"/>
                    <a:pt x="387" y="2088"/>
                  </a:cubicBezTo>
                  <a:lnTo>
                    <a:pt x="361" y="2077"/>
                  </a:lnTo>
                  <a:lnTo>
                    <a:pt x="333" y="2060"/>
                  </a:lnTo>
                  <a:lnTo>
                    <a:pt x="321" y="2047"/>
                  </a:lnTo>
                  <a:lnTo>
                    <a:pt x="307" y="2029"/>
                  </a:lnTo>
                  <a:lnTo>
                    <a:pt x="281" y="1995"/>
                  </a:lnTo>
                  <a:lnTo>
                    <a:pt x="263" y="1977"/>
                  </a:lnTo>
                  <a:lnTo>
                    <a:pt x="249" y="1962"/>
                  </a:lnTo>
                  <a:lnTo>
                    <a:pt x="243" y="1946"/>
                  </a:lnTo>
                  <a:lnTo>
                    <a:pt x="236" y="1918"/>
                  </a:lnTo>
                  <a:lnTo>
                    <a:pt x="228" y="1898"/>
                  </a:lnTo>
                  <a:cubicBezTo>
                    <a:pt x="227" y="1894"/>
                    <a:pt x="224" y="1892"/>
                    <a:pt x="221" y="1891"/>
                  </a:cubicBezTo>
                  <a:lnTo>
                    <a:pt x="215" y="1888"/>
                  </a:lnTo>
                  <a:cubicBezTo>
                    <a:pt x="211" y="1885"/>
                    <a:pt x="206" y="1886"/>
                    <a:pt x="202" y="1888"/>
                  </a:cubicBezTo>
                  <a:lnTo>
                    <a:pt x="196" y="1892"/>
                  </a:lnTo>
                  <a:cubicBezTo>
                    <a:pt x="195" y="1893"/>
                    <a:pt x="193" y="1895"/>
                    <a:pt x="192" y="1896"/>
                  </a:cubicBezTo>
                  <a:lnTo>
                    <a:pt x="176" y="1921"/>
                  </a:lnTo>
                  <a:cubicBezTo>
                    <a:pt x="176" y="1922"/>
                    <a:pt x="176" y="1922"/>
                    <a:pt x="175" y="1923"/>
                  </a:cubicBezTo>
                  <a:lnTo>
                    <a:pt x="156" y="1966"/>
                  </a:lnTo>
                  <a:lnTo>
                    <a:pt x="135" y="2020"/>
                  </a:lnTo>
                  <a:lnTo>
                    <a:pt x="114" y="2085"/>
                  </a:lnTo>
                  <a:lnTo>
                    <a:pt x="93" y="2158"/>
                  </a:lnTo>
                  <a:lnTo>
                    <a:pt x="72" y="2243"/>
                  </a:lnTo>
                  <a:lnTo>
                    <a:pt x="48" y="2334"/>
                  </a:lnTo>
                  <a:lnTo>
                    <a:pt x="26" y="2430"/>
                  </a:lnTo>
                  <a:lnTo>
                    <a:pt x="0" y="2425"/>
                  </a:lnTo>
                  <a:close/>
                  <a:moveTo>
                    <a:pt x="52" y="2436"/>
                  </a:moveTo>
                  <a:lnTo>
                    <a:pt x="74" y="2340"/>
                  </a:lnTo>
                  <a:lnTo>
                    <a:pt x="97" y="2250"/>
                  </a:lnTo>
                  <a:lnTo>
                    <a:pt x="118" y="2165"/>
                  </a:lnTo>
                  <a:lnTo>
                    <a:pt x="139" y="2092"/>
                  </a:lnTo>
                  <a:lnTo>
                    <a:pt x="160" y="2029"/>
                  </a:lnTo>
                  <a:lnTo>
                    <a:pt x="181" y="1975"/>
                  </a:lnTo>
                  <a:lnTo>
                    <a:pt x="199" y="1935"/>
                  </a:lnTo>
                  <a:lnTo>
                    <a:pt x="213" y="1913"/>
                  </a:lnTo>
                  <a:lnTo>
                    <a:pt x="210" y="1915"/>
                  </a:lnTo>
                  <a:lnTo>
                    <a:pt x="205" y="1912"/>
                  </a:lnTo>
                  <a:lnTo>
                    <a:pt x="211" y="1927"/>
                  </a:lnTo>
                  <a:lnTo>
                    <a:pt x="218" y="1953"/>
                  </a:lnTo>
                  <a:lnTo>
                    <a:pt x="225" y="1974"/>
                  </a:lnTo>
                  <a:cubicBezTo>
                    <a:pt x="225" y="1976"/>
                    <a:pt x="226" y="1977"/>
                    <a:pt x="228" y="1979"/>
                  </a:cubicBezTo>
                  <a:lnTo>
                    <a:pt x="244" y="1996"/>
                  </a:lnTo>
                  <a:lnTo>
                    <a:pt x="262" y="2014"/>
                  </a:lnTo>
                  <a:lnTo>
                    <a:pt x="286" y="2046"/>
                  </a:lnTo>
                  <a:lnTo>
                    <a:pt x="300" y="2064"/>
                  </a:lnTo>
                  <a:lnTo>
                    <a:pt x="315" y="2080"/>
                  </a:lnTo>
                  <a:cubicBezTo>
                    <a:pt x="316" y="2080"/>
                    <a:pt x="317" y="2081"/>
                    <a:pt x="318" y="2082"/>
                  </a:cubicBezTo>
                  <a:lnTo>
                    <a:pt x="348" y="2100"/>
                  </a:lnTo>
                  <a:lnTo>
                    <a:pt x="374" y="2112"/>
                  </a:lnTo>
                  <a:lnTo>
                    <a:pt x="386" y="2123"/>
                  </a:lnTo>
                  <a:lnTo>
                    <a:pt x="396" y="2133"/>
                  </a:lnTo>
                  <a:cubicBezTo>
                    <a:pt x="397" y="2135"/>
                    <a:pt x="399" y="2136"/>
                    <a:pt x="400" y="2137"/>
                  </a:cubicBezTo>
                  <a:lnTo>
                    <a:pt x="417" y="2144"/>
                  </a:lnTo>
                  <a:cubicBezTo>
                    <a:pt x="418" y="2144"/>
                    <a:pt x="419" y="2144"/>
                    <a:pt x="420" y="2145"/>
                  </a:cubicBezTo>
                  <a:lnTo>
                    <a:pt x="442" y="2149"/>
                  </a:lnTo>
                  <a:cubicBezTo>
                    <a:pt x="443" y="2149"/>
                    <a:pt x="444" y="2149"/>
                    <a:pt x="445" y="2149"/>
                  </a:cubicBezTo>
                  <a:lnTo>
                    <a:pt x="476" y="2148"/>
                  </a:lnTo>
                  <a:lnTo>
                    <a:pt x="504" y="2149"/>
                  </a:lnTo>
                  <a:lnTo>
                    <a:pt x="523" y="2159"/>
                  </a:lnTo>
                  <a:lnTo>
                    <a:pt x="542" y="2176"/>
                  </a:lnTo>
                  <a:lnTo>
                    <a:pt x="560" y="2195"/>
                  </a:lnTo>
                  <a:lnTo>
                    <a:pt x="580" y="2212"/>
                  </a:lnTo>
                  <a:cubicBezTo>
                    <a:pt x="582" y="2214"/>
                    <a:pt x="586" y="2215"/>
                    <a:pt x="589" y="2215"/>
                  </a:cubicBezTo>
                  <a:lnTo>
                    <a:pt x="607" y="2214"/>
                  </a:lnTo>
                  <a:cubicBezTo>
                    <a:pt x="608" y="2214"/>
                    <a:pt x="609" y="2214"/>
                    <a:pt x="610" y="2213"/>
                  </a:cubicBezTo>
                  <a:lnTo>
                    <a:pt x="622" y="2210"/>
                  </a:lnTo>
                  <a:lnTo>
                    <a:pt x="633" y="2214"/>
                  </a:lnTo>
                  <a:lnTo>
                    <a:pt x="638" y="2216"/>
                  </a:lnTo>
                  <a:cubicBezTo>
                    <a:pt x="641" y="2218"/>
                    <a:pt x="645" y="2218"/>
                    <a:pt x="648" y="2217"/>
                  </a:cubicBezTo>
                  <a:lnTo>
                    <a:pt x="656" y="2214"/>
                  </a:lnTo>
                  <a:cubicBezTo>
                    <a:pt x="658" y="2213"/>
                    <a:pt x="660" y="2212"/>
                    <a:pt x="662" y="2210"/>
                  </a:cubicBezTo>
                  <a:lnTo>
                    <a:pt x="670" y="2200"/>
                  </a:lnTo>
                  <a:lnTo>
                    <a:pt x="681" y="2183"/>
                  </a:lnTo>
                  <a:lnTo>
                    <a:pt x="700" y="2149"/>
                  </a:lnTo>
                  <a:lnTo>
                    <a:pt x="727" y="2121"/>
                  </a:lnTo>
                  <a:lnTo>
                    <a:pt x="741" y="2108"/>
                  </a:lnTo>
                  <a:lnTo>
                    <a:pt x="749" y="2100"/>
                  </a:lnTo>
                  <a:lnTo>
                    <a:pt x="747" y="2101"/>
                  </a:lnTo>
                  <a:lnTo>
                    <a:pt x="745" y="2100"/>
                  </a:lnTo>
                  <a:lnTo>
                    <a:pt x="752" y="2104"/>
                  </a:lnTo>
                  <a:cubicBezTo>
                    <a:pt x="755" y="2106"/>
                    <a:pt x="760" y="2106"/>
                    <a:pt x="764" y="2105"/>
                  </a:cubicBezTo>
                  <a:lnTo>
                    <a:pt x="773" y="2101"/>
                  </a:lnTo>
                  <a:cubicBezTo>
                    <a:pt x="774" y="2100"/>
                    <a:pt x="775" y="2099"/>
                    <a:pt x="777" y="2098"/>
                  </a:cubicBezTo>
                  <a:lnTo>
                    <a:pt x="793" y="2083"/>
                  </a:lnTo>
                  <a:lnTo>
                    <a:pt x="814" y="2062"/>
                  </a:lnTo>
                  <a:lnTo>
                    <a:pt x="835" y="2041"/>
                  </a:lnTo>
                  <a:lnTo>
                    <a:pt x="849" y="2026"/>
                  </a:lnTo>
                  <a:lnTo>
                    <a:pt x="853" y="2023"/>
                  </a:lnTo>
                  <a:lnTo>
                    <a:pt x="832" y="2008"/>
                  </a:lnTo>
                  <a:lnTo>
                    <a:pt x="831" y="2010"/>
                  </a:lnTo>
                  <a:lnTo>
                    <a:pt x="830" y="2011"/>
                  </a:lnTo>
                  <a:cubicBezTo>
                    <a:pt x="827" y="2016"/>
                    <a:pt x="828" y="2023"/>
                    <a:pt x="832" y="2028"/>
                  </a:cubicBezTo>
                  <a:cubicBezTo>
                    <a:pt x="837" y="2032"/>
                    <a:pt x="844" y="2033"/>
                    <a:pt x="849" y="2030"/>
                  </a:cubicBezTo>
                  <a:lnTo>
                    <a:pt x="852" y="2028"/>
                  </a:lnTo>
                  <a:cubicBezTo>
                    <a:pt x="853" y="2027"/>
                    <a:pt x="854" y="2026"/>
                    <a:pt x="854" y="2025"/>
                  </a:cubicBezTo>
                  <a:lnTo>
                    <a:pt x="863" y="2015"/>
                  </a:lnTo>
                  <a:lnTo>
                    <a:pt x="876" y="2001"/>
                  </a:lnTo>
                  <a:lnTo>
                    <a:pt x="902" y="1973"/>
                  </a:lnTo>
                  <a:cubicBezTo>
                    <a:pt x="903" y="1972"/>
                    <a:pt x="903" y="1972"/>
                    <a:pt x="903" y="1971"/>
                  </a:cubicBezTo>
                  <a:lnTo>
                    <a:pt x="920" y="1947"/>
                  </a:lnTo>
                  <a:lnTo>
                    <a:pt x="938" y="1927"/>
                  </a:lnTo>
                  <a:lnTo>
                    <a:pt x="973" y="1912"/>
                  </a:lnTo>
                  <a:lnTo>
                    <a:pt x="1012" y="1898"/>
                  </a:lnTo>
                  <a:lnTo>
                    <a:pt x="1047" y="1885"/>
                  </a:lnTo>
                  <a:lnTo>
                    <a:pt x="1082" y="1867"/>
                  </a:lnTo>
                  <a:cubicBezTo>
                    <a:pt x="1082" y="1867"/>
                    <a:pt x="1083" y="1867"/>
                    <a:pt x="1083" y="1866"/>
                  </a:cubicBezTo>
                  <a:lnTo>
                    <a:pt x="1117" y="1841"/>
                  </a:lnTo>
                  <a:cubicBezTo>
                    <a:pt x="1118" y="1841"/>
                    <a:pt x="1119" y="1840"/>
                    <a:pt x="1120" y="1839"/>
                  </a:cubicBezTo>
                  <a:lnTo>
                    <a:pt x="1148" y="1805"/>
                  </a:lnTo>
                  <a:cubicBezTo>
                    <a:pt x="1149" y="1804"/>
                    <a:pt x="1149" y="1802"/>
                    <a:pt x="1150" y="1801"/>
                  </a:cubicBezTo>
                  <a:lnTo>
                    <a:pt x="1160" y="1774"/>
                  </a:lnTo>
                  <a:lnTo>
                    <a:pt x="1167" y="1741"/>
                  </a:lnTo>
                  <a:lnTo>
                    <a:pt x="1173" y="1709"/>
                  </a:lnTo>
                  <a:lnTo>
                    <a:pt x="1175" y="1684"/>
                  </a:lnTo>
                  <a:lnTo>
                    <a:pt x="1175" y="1669"/>
                  </a:lnTo>
                  <a:cubicBezTo>
                    <a:pt x="1175" y="1668"/>
                    <a:pt x="1175" y="1666"/>
                    <a:pt x="1174" y="1665"/>
                  </a:cubicBezTo>
                  <a:lnTo>
                    <a:pt x="1171" y="1657"/>
                  </a:lnTo>
                  <a:cubicBezTo>
                    <a:pt x="1171" y="1656"/>
                    <a:pt x="1170" y="1655"/>
                    <a:pt x="1170" y="1654"/>
                  </a:cubicBezTo>
                  <a:lnTo>
                    <a:pt x="1167" y="1650"/>
                  </a:lnTo>
                  <a:lnTo>
                    <a:pt x="1166" y="1647"/>
                  </a:lnTo>
                  <a:lnTo>
                    <a:pt x="1169" y="1636"/>
                  </a:lnTo>
                  <a:lnTo>
                    <a:pt x="1173" y="1621"/>
                  </a:lnTo>
                  <a:lnTo>
                    <a:pt x="1177" y="1605"/>
                  </a:lnTo>
                  <a:cubicBezTo>
                    <a:pt x="1177" y="1603"/>
                    <a:pt x="1177" y="1601"/>
                    <a:pt x="1176" y="1600"/>
                  </a:cubicBezTo>
                  <a:lnTo>
                    <a:pt x="1174" y="1591"/>
                  </a:lnTo>
                  <a:cubicBezTo>
                    <a:pt x="1173" y="1584"/>
                    <a:pt x="1168" y="1580"/>
                    <a:pt x="1161" y="1580"/>
                  </a:cubicBezTo>
                  <a:lnTo>
                    <a:pt x="1151" y="1580"/>
                  </a:lnTo>
                  <a:cubicBezTo>
                    <a:pt x="1150" y="1580"/>
                    <a:pt x="1149" y="1580"/>
                    <a:pt x="1147" y="1581"/>
                  </a:cubicBezTo>
                  <a:lnTo>
                    <a:pt x="1132" y="1586"/>
                  </a:lnTo>
                  <a:lnTo>
                    <a:pt x="1118" y="1591"/>
                  </a:lnTo>
                  <a:lnTo>
                    <a:pt x="1115" y="1592"/>
                  </a:lnTo>
                  <a:lnTo>
                    <a:pt x="1110" y="1584"/>
                  </a:lnTo>
                  <a:lnTo>
                    <a:pt x="1108" y="1565"/>
                  </a:lnTo>
                  <a:lnTo>
                    <a:pt x="1115" y="1543"/>
                  </a:lnTo>
                  <a:lnTo>
                    <a:pt x="1126" y="1515"/>
                  </a:lnTo>
                  <a:cubicBezTo>
                    <a:pt x="1126" y="1515"/>
                    <a:pt x="1126" y="1514"/>
                    <a:pt x="1126" y="1513"/>
                  </a:cubicBezTo>
                  <a:lnTo>
                    <a:pt x="1135" y="1473"/>
                  </a:lnTo>
                  <a:lnTo>
                    <a:pt x="1145" y="1438"/>
                  </a:lnTo>
                  <a:lnTo>
                    <a:pt x="1157" y="1416"/>
                  </a:lnTo>
                  <a:lnTo>
                    <a:pt x="1172" y="1399"/>
                  </a:lnTo>
                  <a:lnTo>
                    <a:pt x="1186" y="1385"/>
                  </a:lnTo>
                  <a:lnTo>
                    <a:pt x="1200" y="1371"/>
                  </a:lnTo>
                  <a:lnTo>
                    <a:pt x="1215" y="1353"/>
                  </a:lnTo>
                  <a:cubicBezTo>
                    <a:pt x="1216" y="1352"/>
                    <a:pt x="1217" y="1351"/>
                    <a:pt x="1218" y="1350"/>
                  </a:cubicBezTo>
                  <a:lnTo>
                    <a:pt x="1227" y="1331"/>
                  </a:lnTo>
                  <a:cubicBezTo>
                    <a:pt x="1228" y="1329"/>
                    <a:pt x="1228" y="1327"/>
                    <a:pt x="1228" y="1324"/>
                  </a:cubicBezTo>
                  <a:lnTo>
                    <a:pt x="1227" y="1313"/>
                  </a:lnTo>
                  <a:cubicBezTo>
                    <a:pt x="1227" y="1312"/>
                    <a:pt x="1226" y="1311"/>
                    <a:pt x="1226" y="1309"/>
                  </a:cubicBezTo>
                  <a:lnTo>
                    <a:pt x="1221" y="1297"/>
                  </a:lnTo>
                  <a:lnTo>
                    <a:pt x="1214" y="1276"/>
                  </a:lnTo>
                  <a:lnTo>
                    <a:pt x="1217" y="1253"/>
                  </a:lnTo>
                  <a:lnTo>
                    <a:pt x="1225" y="1232"/>
                  </a:lnTo>
                  <a:lnTo>
                    <a:pt x="1239" y="1222"/>
                  </a:lnTo>
                  <a:lnTo>
                    <a:pt x="1256" y="1212"/>
                  </a:lnTo>
                  <a:cubicBezTo>
                    <a:pt x="1257" y="1211"/>
                    <a:pt x="1258" y="1210"/>
                    <a:pt x="1259" y="1209"/>
                  </a:cubicBezTo>
                  <a:lnTo>
                    <a:pt x="1270" y="1196"/>
                  </a:lnTo>
                  <a:cubicBezTo>
                    <a:pt x="1270" y="1195"/>
                    <a:pt x="1271" y="1194"/>
                    <a:pt x="1272" y="1193"/>
                  </a:cubicBezTo>
                  <a:lnTo>
                    <a:pt x="1276" y="1184"/>
                  </a:lnTo>
                  <a:lnTo>
                    <a:pt x="1280" y="1168"/>
                  </a:lnTo>
                  <a:lnTo>
                    <a:pt x="1285" y="1146"/>
                  </a:lnTo>
                  <a:lnTo>
                    <a:pt x="1290" y="1120"/>
                  </a:lnTo>
                  <a:lnTo>
                    <a:pt x="1293" y="1092"/>
                  </a:lnTo>
                  <a:lnTo>
                    <a:pt x="1296" y="1070"/>
                  </a:lnTo>
                  <a:lnTo>
                    <a:pt x="1298" y="1043"/>
                  </a:lnTo>
                  <a:lnTo>
                    <a:pt x="1301" y="1023"/>
                  </a:lnTo>
                  <a:lnTo>
                    <a:pt x="1307" y="994"/>
                  </a:lnTo>
                  <a:lnTo>
                    <a:pt x="1311" y="981"/>
                  </a:lnTo>
                  <a:lnTo>
                    <a:pt x="1313" y="975"/>
                  </a:lnTo>
                  <a:lnTo>
                    <a:pt x="1304" y="983"/>
                  </a:lnTo>
                  <a:lnTo>
                    <a:pt x="1297" y="976"/>
                  </a:lnTo>
                  <a:lnTo>
                    <a:pt x="1299" y="978"/>
                  </a:lnTo>
                  <a:cubicBezTo>
                    <a:pt x="1303" y="981"/>
                    <a:pt x="1308" y="983"/>
                    <a:pt x="1313" y="981"/>
                  </a:cubicBezTo>
                  <a:lnTo>
                    <a:pt x="1316" y="980"/>
                  </a:lnTo>
                  <a:cubicBezTo>
                    <a:pt x="1319" y="979"/>
                    <a:pt x="1322" y="977"/>
                    <a:pt x="1323" y="974"/>
                  </a:cubicBezTo>
                  <a:lnTo>
                    <a:pt x="1331" y="959"/>
                  </a:lnTo>
                  <a:lnTo>
                    <a:pt x="1342" y="938"/>
                  </a:lnTo>
                  <a:lnTo>
                    <a:pt x="1361" y="898"/>
                  </a:lnTo>
                  <a:lnTo>
                    <a:pt x="1373" y="885"/>
                  </a:lnTo>
                  <a:cubicBezTo>
                    <a:pt x="1374" y="884"/>
                    <a:pt x="1374" y="883"/>
                    <a:pt x="1375" y="883"/>
                  </a:cubicBezTo>
                  <a:lnTo>
                    <a:pt x="1385" y="868"/>
                  </a:lnTo>
                  <a:cubicBezTo>
                    <a:pt x="1387" y="865"/>
                    <a:pt x="1387" y="861"/>
                    <a:pt x="1386" y="858"/>
                  </a:cubicBezTo>
                  <a:lnTo>
                    <a:pt x="1384" y="849"/>
                  </a:lnTo>
                  <a:cubicBezTo>
                    <a:pt x="1384" y="847"/>
                    <a:pt x="1383" y="845"/>
                    <a:pt x="1382" y="843"/>
                  </a:cubicBezTo>
                  <a:lnTo>
                    <a:pt x="1375" y="834"/>
                  </a:lnTo>
                  <a:lnTo>
                    <a:pt x="1370" y="826"/>
                  </a:lnTo>
                  <a:lnTo>
                    <a:pt x="1370" y="825"/>
                  </a:lnTo>
                  <a:lnTo>
                    <a:pt x="1372" y="820"/>
                  </a:lnTo>
                  <a:lnTo>
                    <a:pt x="1380" y="807"/>
                  </a:lnTo>
                  <a:cubicBezTo>
                    <a:pt x="1381" y="805"/>
                    <a:pt x="1382" y="802"/>
                    <a:pt x="1382" y="799"/>
                  </a:cubicBezTo>
                  <a:lnTo>
                    <a:pt x="1380" y="776"/>
                  </a:lnTo>
                  <a:lnTo>
                    <a:pt x="1378" y="754"/>
                  </a:lnTo>
                  <a:lnTo>
                    <a:pt x="1380" y="736"/>
                  </a:lnTo>
                  <a:lnTo>
                    <a:pt x="1382" y="730"/>
                  </a:lnTo>
                  <a:lnTo>
                    <a:pt x="1379" y="730"/>
                  </a:lnTo>
                  <a:lnTo>
                    <a:pt x="1385" y="732"/>
                  </a:lnTo>
                  <a:cubicBezTo>
                    <a:pt x="1386" y="732"/>
                    <a:pt x="1387" y="733"/>
                    <a:pt x="1388" y="733"/>
                  </a:cubicBezTo>
                  <a:lnTo>
                    <a:pt x="1397" y="734"/>
                  </a:lnTo>
                  <a:cubicBezTo>
                    <a:pt x="1399" y="734"/>
                    <a:pt x="1401" y="734"/>
                    <a:pt x="1403" y="733"/>
                  </a:cubicBezTo>
                  <a:lnTo>
                    <a:pt x="1412" y="730"/>
                  </a:lnTo>
                  <a:cubicBezTo>
                    <a:pt x="1415" y="729"/>
                    <a:pt x="1417" y="727"/>
                    <a:pt x="1419" y="725"/>
                  </a:cubicBezTo>
                  <a:lnTo>
                    <a:pt x="1426" y="714"/>
                  </a:lnTo>
                  <a:cubicBezTo>
                    <a:pt x="1426" y="713"/>
                    <a:pt x="1426" y="712"/>
                    <a:pt x="1427" y="712"/>
                  </a:cubicBezTo>
                  <a:lnTo>
                    <a:pt x="1434" y="695"/>
                  </a:lnTo>
                  <a:lnTo>
                    <a:pt x="1441" y="678"/>
                  </a:lnTo>
                  <a:lnTo>
                    <a:pt x="1447" y="666"/>
                  </a:lnTo>
                  <a:lnTo>
                    <a:pt x="1466" y="650"/>
                  </a:lnTo>
                  <a:lnTo>
                    <a:pt x="1488" y="632"/>
                  </a:lnTo>
                  <a:cubicBezTo>
                    <a:pt x="1489" y="631"/>
                    <a:pt x="1490" y="630"/>
                    <a:pt x="1491" y="629"/>
                  </a:cubicBezTo>
                  <a:lnTo>
                    <a:pt x="1509" y="601"/>
                  </a:lnTo>
                  <a:lnTo>
                    <a:pt x="1523" y="578"/>
                  </a:lnTo>
                  <a:lnTo>
                    <a:pt x="1537" y="568"/>
                  </a:lnTo>
                  <a:lnTo>
                    <a:pt x="1552" y="563"/>
                  </a:lnTo>
                  <a:lnTo>
                    <a:pt x="1568" y="557"/>
                  </a:lnTo>
                  <a:lnTo>
                    <a:pt x="1581" y="550"/>
                  </a:lnTo>
                  <a:cubicBezTo>
                    <a:pt x="1586" y="548"/>
                    <a:pt x="1589" y="543"/>
                    <a:pt x="1589" y="537"/>
                  </a:cubicBezTo>
                  <a:lnTo>
                    <a:pt x="1588" y="526"/>
                  </a:lnTo>
                  <a:lnTo>
                    <a:pt x="1586" y="517"/>
                  </a:lnTo>
                  <a:lnTo>
                    <a:pt x="1590" y="511"/>
                  </a:lnTo>
                  <a:lnTo>
                    <a:pt x="1595" y="506"/>
                  </a:lnTo>
                  <a:cubicBezTo>
                    <a:pt x="1596" y="504"/>
                    <a:pt x="1597" y="502"/>
                    <a:pt x="1598" y="499"/>
                  </a:cubicBezTo>
                  <a:lnTo>
                    <a:pt x="1599" y="492"/>
                  </a:lnTo>
                  <a:cubicBezTo>
                    <a:pt x="1599" y="489"/>
                    <a:pt x="1599" y="487"/>
                    <a:pt x="1597" y="484"/>
                  </a:cubicBezTo>
                  <a:lnTo>
                    <a:pt x="1592" y="475"/>
                  </a:lnTo>
                  <a:lnTo>
                    <a:pt x="1583" y="463"/>
                  </a:lnTo>
                  <a:lnTo>
                    <a:pt x="1577" y="453"/>
                  </a:lnTo>
                  <a:lnTo>
                    <a:pt x="1575" y="450"/>
                  </a:lnTo>
                  <a:lnTo>
                    <a:pt x="1576" y="447"/>
                  </a:lnTo>
                  <a:lnTo>
                    <a:pt x="1582" y="440"/>
                  </a:lnTo>
                  <a:lnTo>
                    <a:pt x="1596" y="422"/>
                  </a:lnTo>
                  <a:cubicBezTo>
                    <a:pt x="1597" y="420"/>
                    <a:pt x="1598" y="418"/>
                    <a:pt x="1598" y="416"/>
                  </a:cubicBezTo>
                  <a:lnTo>
                    <a:pt x="1602" y="398"/>
                  </a:lnTo>
                  <a:cubicBezTo>
                    <a:pt x="1603" y="398"/>
                    <a:pt x="1603" y="397"/>
                    <a:pt x="1603" y="396"/>
                  </a:cubicBezTo>
                  <a:lnTo>
                    <a:pt x="1604" y="378"/>
                  </a:lnTo>
                  <a:lnTo>
                    <a:pt x="1604" y="347"/>
                  </a:lnTo>
                  <a:cubicBezTo>
                    <a:pt x="1604" y="346"/>
                    <a:pt x="1604" y="345"/>
                    <a:pt x="1603" y="344"/>
                  </a:cubicBezTo>
                  <a:lnTo>
                    <a:pt x="1600" y="331"/>
                  </a:lnTo>
                  <a:cubicBezTo>
                    <a:pt x="1600" y="331"/>
                    <a:pt x="1600" y="330"/>
                    <a:pt x="1600" y="329"/>
                  </a:cubicBezTo>
                  <a:lnTo>
                    <a:pt x="1593" y="312"/>
                  </a:lnTo>
                  <a:cubicBezTo>
                    <a:pt x="1592" y="311"/>
                    <a:pt x="1592" y="310"/>
                    <a:pt x="1591" y="309"/>
                  </a:cubicBezTo>
                  <a:lnTo>
                    <a:pt x="1582" y="298"/>
                  </a:lnTo>
                  <a:lnTo>
                    <a:pt x="1570" y="286"/>
                  </a:lnTo>
                  <a:lnTo>
                    <a:pt x="1561" y="275"/>
                  </a:lnTo>
                  <a:lnTo>
                    <a:pt x="1556" y="262"/>
                  </a:lnTo>
                  <a:lnTo>
                    <a:pt x="1556" y="243"/>
                  </a:lnTo>
                  <a:lnTo>
                    <a:pt x="1560" y="218"/>
                  </a:lnTo>
                  <a:lnTo>
                    <a:pt x="1565" y="193"/>
                  </a:lnTo>
                  <a:lnTo>
                    <a:pt x="1569" y="171"/>
                  </a:lnTo>
                  <a:lnTo>
                    <a:pt x="1580" y="144"/>
                  </a:lnTo>
                  <a:lnTo>
                    <a:pt x="1584" y="132"/>
                  </a:lnTo>
                  <a:cubicBezTo>
                    <a:pt x="1585" y="130"/>
                    <a:pt x="1585" y="129"/>
                    <a:pt x="1585" y="127"/>
                  </a:cubicBezTo>
                  <a:lnTo>
                    <a:pt x="1585" y="115"/>
                  </a:lnTo>
                  <a:cubicBezTo>
                    <a:pt x="1585" y="113"/>
                    <a:pt x="1584" y="110"/>
                    <a:pt x="1583" y="108"/>
                  </a:cubicBezTo>
                  <a:lnTo>
                    <a:pt x="1575" y="96"/>
                  </a:lnTo>
                  <a:cubicBezTo>
                    <a:pt x="1574" y="95"/>
                    <a:pt x="1573" y="94"/>
                    <a:pt x="1572" y="94"/>
                  </a:cubicBezTo>
                  <a:lnTo>
                    <a:pt x="1560" y="83"/>
                  </a:lnTo>
                  <a:cubicBezTo>
                    <a:pt x="1560" y="82"/>
                    <a:pt x="1559" y="82"/>
                    <a:pt x="1559" y="81"/>
                  </a:cubicBezTo>
                  <a:lnTo>
                    <a:pt x="1530" y="62"/>
                  </a:lnTo>
                  <a:lnTo>
                    <a:pt x="1502" y="46"/>
                  </a:lnTo>
                  <a:cubicBezTo>
                    <a:pt x="1501" y="45"/>
                    <a:pt x="1500" y="45"/>
                    <a:pt x="1499" y="45"/>
                  </a:cubicBezTo>
                  <a:lnTo>
                    <a:pt x="1473" y="37"/>
                  </a:lnTo>
                  <a:cubicBezTo>
                    <a:pt x="1470" y="36"/>
                    <a:pt x="1467" y="36"/>
                    <a:pt x="1464" y="38"/>
                  </a:cubicBezTo>
                  <a:lnTo>
                    <a:pt x="1456" y="42"/>
                  </a:lnTo>
                  <a:cubicBezTo>
                    <a:pt x="1454" y="43"/>
                    <a:pt x="1452" y="44"/>
                    <a:pt x="1451" y="46"/>
                  </a:cubicBezTo>
                  <a:lnTo>
                    <a:pt x="1444" y="56"/>
                  </a:lnTo>
                  <a:lnTo>
                    <a:pt x="1438" y="64"/>
                  </a:lnTo>
                  <a:lnTo>
                    <a:pt x="1435" y="67"/>
                  </a:lnTo>
                  <a:lnTo>
                    <a:pt x="1434" y="67"/>
                  </a:lnTo>
                  <a:lnTo>
                    <a:pt x="1427" y="65"/>
                  </a:lnTo>
                  <a:lnTo>
                    <a:pt x="1420" y="64"/>
                  </a:lnTo>
                  <a:cubicBezTo>
                    <a:pt x="1417" y="63"/>
                    <a:pt x="1415" y="63"/>
                    <a:pt x="1412" y="64"/>
                  </a:cubicBezTo>
                  <a:lnTo>
                    <a:pt x="1403" y="67"/>
                  </a:lnTo>
                  <a:cubicBezTo>
                    <a:pt x="1401" y="67"/>
                    <a:pt x="1400" y="69"/>
                    <a:pt x="1398" y="70"/>
                  </a:cubicBezTo>
                  <a:lnTo>
                    <a:pt x="1388" y="80"/>
                  </a:lnTo>
                  <a:cubicBezTo>
                    <a:pt x="1387" y="81"/>
                    <a:pt x="1387" y="81"/>
                    <a:pt x="1386" y="82"/>
                  </a:cubicBezTo>
                  <a:lnTo>
                    <a:pt x="1376" y="97"/>
                  </a:lnTo>
                  <a:lnTo>
                    <a:pt x="1367" y="111"/>
                  </a:lnTo>
                  <a:lnTo>
                    <a:pt x="1364" y="113"/>
                  </a:lnTo>
                  <a:lnTo>
                    <a:pt x="1363" y="113"/>
                  </a:lnTo>
                  <a:lnTo>
                    <a:pt x="1357" y="104"/>
                  </a:lnTo>
                  <a:lnTo>
                    <a:pt x="1349" y="78"/>
                  </a:lnTo>
                  <a:lnTo>
                    <a:pt x="1344" y="48"/>
                  </a:lnTo>
                  <a:lnTo>
                    <a:pt x="1343" y="22"/>
                  </a:lnTo>
                  <a:lnTo>
                    <a:pt x="1344" y="2"/>
                  </a:lnTo>
                  <a:lnTo>
                    <a:pt x="1370" y="3"/>
                  </a:lnTo>
                  <a:lnTo>
                    <a:pt x="1369" y="21"/>
                  </a:lnTo>
                  <a:lnTo>
                    <a:pt x="1370" y="45"/>
                  </a:lnTo>
                  <a:lnTo>
                    <a:pt x="1375" y="70"/>
                  </a:lnTo>
                  <a:lnTo>
                    <a:pt x="1381" y="92"/>
                  </a:lnTo>
                  <a:lnTo>
                    <a:pt x="1379" y="89"/>
                  </a:lnTo>
                  <a:lnTo>
                    <a:pt x="1356" y="85"/>
                  </a:lnTo>
                  <a:lnTo>
                    <a:pt x="1347" y="93"/>
                  </a:lnTo>
                  <a:lnTo>
                    <a:pt x="1354" y="82"/>
                  </a:lnTo>
                  <a:lnTo>
                    <a:pt x="1364" y="67"/>
                  </a:lnTo>
                  <a:cubicBezTo>
                    <a:pt x="1366" y="65"/>
                    <a:pt x="1367" y="63"/>
                    <a:pt x="1369" y="61"/>
                  </a:cubicBezTo>
                  <a:lnTo>
                    <a:pt x="1379" y="51"/>
                  </a:lnTo>
                  <a:cubicBezTo>
                    <a:pt x="1384" y="47"/>
                    <a:pt x="1389" y="43"/>
                    <a:pt x="1395" y="42"/>
                  </a:cubicBezTo>
                  <a:lnTo>
                    <a:pt x="1404" y="39"/>
                  </a:lnTo>
                  <a:cubicBezTo>
                    <a:pt x="1411" y="36"/>
                    <a:pt x="1419" y="36"/>
                    <a:pt x="1426" y="38"/>
                  </a:cubicBezTo>
                  <a:lnTo>
                    <a:pt x="1433" y="39"/>
                  </a:lnTo>
                  <a:lnTo>
                    <a:pt x="1435" y="40"/>
                  </a:lnTo>
                  <a:lnTo>
                    <a:pt x="1423" y="41"/>
                  </a:lnTo>
                  <a:lnTo>
                    <a:pt x="1417" y="47"/>
                  </a:lnTo>
                  <a:lnTo>
                    <a:pt x="1422" y="41"/>
                  </a:lnTo>
                  <a:lnTo>
                    <a:pt x="1429" y="31"/>
                  </a:lnTo>
                  <a:cubicBezTo>
                    <a:pt x="1433" y="25"/>
                    <a:pt x="1438" y="21"/>
                    <a:pt x="1444" y="18"/>
                  </a:cubicBezTo>
                  <a:lnTo>
                    <a:pt x="1452" y="14"/>
                  </a:lnTo>
                  <a:cubicBezTo>
                    <a:pt x="1461" y="9"/>
                    <a:pt x="1471" y="8"/>
                    <a:pt x="1481" y="11"/>
                  </a:cubicBezTo>
                  <a:lnTo>
                    <a:pt x="1507" y="19"/>
                  </a:lnTo>
                  <a:cubicBezTo>
                    <a:pt x="1510" y="20"/>
                    <a:pt x="1513" y="21"/>
                    <a:pt x="1516" y="23"/>
                  </a:cubicBezTo>
                  <a:lnTo>
                    <a:pt x="1544" y="40"/>
                  </a:lnTo>
                  <a:lnTo>
                    <a:pt x="1573" y="59"/>
                  </a:lnTo>
                  <a:cubicBezTo>
                    <a:pt x="1575" y="60"/>
                    <a:pt x="1577" y="62"/>
                    <a:pt x="1578" y="63"/>
                  </a:cubicBezTo>
                  <a:lnTo>
                    <a:pt x="1590" y="74"/>
                  </a:lnTo>
                  <a:cubicBezTo>
                    <a:pt x="1593" y="76"/>
                    <a:pt x="1595" y="79"/>
                    <a:pt x="1597" y="81"/>
                  </a:cubicBezTo>
                  <a:lnTo>
                    <a:pt x="1605" y="93"/>
                  </a:lnTo>
                  <a:cubicBezTo>
                    <a:pt x="1609" y="100"/>
                    <a:pt x="1611" y="108"/>
                    <a:pt x="1611" y="115"/>
                  </a:cubicBezTo>
                  <a:lnTo>
                    <a:pt x="1611" y="127"/>
                  </a:lnTo>
                  <a:cubicBezTo>
                    <a:pt x="1611" y="132"/>
                    <a:pt x="1611" y="136"/>
                    <a:pt x="1609" y="140"/>
                  </a:cubicBezTo>
                  <a:lnTo>
                    <a:pt x="1605" y="154"/>
                  </a:lnTo>
                  <a:lnTo>
                    <a:pt x="1595" y="177"/>
                  </a:lnTo>
                  <a:lnTo>
                    <a:pt x="1591" y="198"/>
                  </a:lnTo>
                  <a:lnTo>
                    <a:pt x="1586" y="223"/>
                  </a:lnTo>
                  <a:lnTo>
                    <a:pt x="1582" y="246"/>
                  </a:lnTo>
                  <a:lnTo>
                    <a:pt x="1582" y="257"/>
                  </a:lnTo>
                  <a:lnTo>
                    <a:pt x="1584" y="261"/>
                  </a:lnTo>
                  <a:lnTo>
                    <a:pt x="1589" y="267"/>
                  </a:lnTo>
                  <a:lnTo>
                    <a:pt x="1602" y="281"/>
                  </a:lnTo>
                  <a:lnTo>
                    <a:pt x="1611" y="292"/>
                  </a:lnTo>
                  <a:cubicBezTo>
                    <a:pt x="1614" y="295"/>
                    <a:pt x="1616" y="299"/>
                    <a:pt x="1617" y="302"/>
                  </a:cubicBezTo>
                  <a:lnTo>
                    <a:pt x="1624" y="319"/>
                  </a:lnTo>
                  <a:cubicBezTo>
                    <a:pt x="1625" y="321"/>
                    <a:pt x="1626" y="323"/>
                    <a:pt x="1626" y="325"/>
                  </a:cubicBezTo>
                  <a:lnTo>
                    <a:pt x="1629" y="338"/>
                  </a:lnTo>
                  <a:cubicBezTo>
                    <a:pt x="1630" y="341"/>
                    <a:pt x="1630" y="344"/>
                    <a:pt x="1630" y="347"/>
                  </a:cubicBezTo>
                  <a:lnTo>
                    <a:pt x="1630" y="380"/>
                  </a:lnTo>
                  <a:lnTo>
                    <a:pt x="1629" y="398"/>
                  </a:lnTo>
                  <a:cubicBezTo>
                    <a:pt x="1629" y="400"/>
                    <a:pt x="1629" y="402"/>
                    <a:pt x="1629" y="404"/>
                  </a:cubicBezTo>
                  <a:lnTo>
                    <a:pt x="1625" y="422"/>
                  </a:lnTo>
                  <a:cubicBezTo>
                    <a:pt x="1623" y="428"/>
                    <a:pt x="1621" y="433"/>
                    <a:pt x="1617" y="438"/>
                  </a:cubicBezTo>
                  <a:lnTo>
                    <a:pt x="1603" y="456"/>
                  </a:lnTo>
                  <a:lnTo>
                    <a:pt x="1600" y="460"/>
                  </a:lnTo>
                  <a:lnTo>
                    <a:pt x="1603" y="450"/>
                  </a:lnTo>
                  <a:lnTo>
                    <a:pt x="1601" y="441"/>
                  </a:lnTo>
                  <a:lnTo>
                    <a:pt x="1605" y="447"/>
                  </a:lnTo>
                  <a:lnTo>
                    <a:pt x="1615" y="462"/>
                  </a:lnTo>
                  <a:lnTo>
                    <a:pt x="1620" y="471"/>
                  </a:lnTo>
                  <a:cubicBezTo>
                    <a:pt x="1625" y="479"/>
                    <a:pt x="1626" y="487"/>
                    <a:pt x="1625" y="496"/>
                  </a:cubicBezTo>
                  <a:lnTo>
                    <a:pt x="1624" y="503"/>
                  </a:lnTo>
                  <a:cubicBezTo>
                    <a:pt x="1623" y="510"/>
                    <a:pt x="1620" y="517"/>
                    <a:pt x="1615" y="523"/>
                  </a:cubicBezTo>
                  <a:lnTo>
                    <a:pt x="1612" y="527"/>
                  </a:lnTo>
                  <a:lnTo>
                    <a:pt x="1615" y="523"/>
                  </a:lnTo>
                  <a:lnTo>
                    <a:pt x="1614" y="524"/>
                  </a:lnTo>
                  <a:lnTo>
                    <a:pt x="1615" y="535"/>
                  </a:lnTo>
                  <a:cubicBezTo>
                    <a:pt x="1617" y="551"/>
                    <a:pt x="1608" y="567"/>
                    <a:pt x="1593" y="574"/>
                  </a:cubicBezTo>
                  <a:lnTo>
                    <a:pt x="1578" y="582"/>
                  </a:lnTo>
                  <a:lnTo>
                    <a:pt x="1561" y="588"/>
                  </a:lnTo>
                  <a:lnTo>
                    <a:pt x="1549" y="592"/>
                  </a:lnTo>
                  <a:lnTo>
                    <a:pt x="1543" y="597"/>
                  </a:lnTo>
                  <a:lnTo>
                    <a:pt x="1531" y="615"/>
                  </a:lnTo>
                  <a:lnTo>
                    <a:pt x="1513" y="643"/>
                  </a:lnTo>
                  <a:cubicBezTo>
                    <a:pt x="1511" y="647"/>
                    <a:pt x="1508" y="650"/>
                    <a:pt x="1505" y="652"/>
                  </a:cubicBezTo>
                  <a:lnTo>
                    <a:pt x="1483" y="670"/>
                  </a:lnTo>
                  <a:lnTo>
                    <a:pt x="1468" y="683"/>
                  </a:lnTo>
                  <a:lnTo>
                    <a:pt x="1465" y="688"/>
                  </a:lnTo>
                  <a:lnTo>
                    <a:pt x="1458" y="705"/>
                  </a:lnTo>
                  <a:lnTo>
                    <a:pt x="1451" y="722"/>
                  </a:lnTo>
                  <a:cubicBezTo>
                    <a:pt x="1451" y="724"/>
                    <a:pt x="1449" y="726"/>
                    <a:pt x="1448" y="728"/>
                  </a:cubicBezTo>
                  <a:lnTo>
                    <a:pt x="1441" y="739"/>
                  </a:lnTo>
                  <a:cubicBezTo>
                    <a:pt x="1436" y="747"/>
                    <a:pt x="1429" y="753"/>
                    <a:pt x="1420" y="755"/>
                  </a:cubicBezTo>
                  <a:lnTo>
                    <a:pt x="1411" y="758"/>
                  </a:lnTo>
                  <a:cubicBezTo>
                    <a:pt x="1406" y="760"/>
                    <a:pt x="1400" y="761"/>
                    <a:pt x="1394" y="760"/>
                  </a:cubicBezTo>
                  <a:lnTo>
                    <a:pt x="1385" y="759"/>
                  </a:lnTo>
                  <a:cubicBezTo>
                    <a:pt x="1382" y="759"/>
                    <a:pt x="1379" y="758"/>
                    <a:pt x="1377" y="757"/>
                  </a:cubicBezTo>
                  <a:lnTo>
                    <a:pt x="1377" y="757"/>
                  </a:lnTo>
                  <a:lnTo>
                    <a:pt x="1401" y="754"/>
                  </a:lnTo>
                  <a:lnTo>
                    <a:pt x="1406" y="743"/>
                  </a:lnTo>
                  <a:lnTo>
                    <a:pt x="1405" y="754"/>
                  </a:lnTo>
                  <a:lnTo>
                    <a:pt x="1406" y="774"/>
                  </a:lnTo>
                  <a:lnTo>
                    <a:pt x="1408" y="797"/>
                  </a:lnTo>
                  <a:cubicBezTo>
                    <a:pt x="1409" y="806"/>
                    <a:pt x="1407" y="814"/>
                    <a:pt x="1403" y="821"/>
                  </a:cubicBezTo>
                  <a:lnTo>
                    <a:pt x="1396" y="833"/>
                  </a:lnTo>
                  <a:lnTo>
                    <a:pt x="1400" y="825"/>
                  </a:lnTo>
                  <a:lnTo>
                    <a:pt x="1393" y="812"/>
                  </a:lnTo>
                  <a:lnTo>
                    <a:pt x="1396" y="818"/>
                  </a:lnTo>
                  <a:lnTo>
                    <a:pt x="1403" y="827"/>
                  </a:lnTo>
                  <a:cubicBezTo>
                    <a:pt x="1407" y="832"/>
                    <a:pt x="1409" y="837"/>
                    <a:pt x="1411" y="843"/>
                  </a:cubicBezTo>
                  <a:lnTo>
                    <a:pt x="1413" y="852"/>
                  </a:lnTo>
                  <a:cubicBezTo>
                    <a:pt x="1415" y="862"/>
                    <a:pt x="1413" y="874"/>
                    <a:pt x="1407" y="883"/>
                  </a:cubicBezTo>
                  <a:lnTo>
                    <a:pt x="1397" y="898"/>
                  </a:lnTo>
                  <a:cubicBezTo>
                    <a:pt x="1396" y="899"/>
                    <a:pt x="1394" y="901"/>
                    <a:pt x="1393" y="903"/>
                  </a:cubicBezTo>
                  <a:lnTo>
                    <a:pt x="1383" y="913"/>
                  </a:lnTo>
                  <a:lnTo>
                    <a:pt x="1366" y="950"/>
                  </a:lnTo>
                  <a:lnTo>
                    <a:pt x="1355" y="971"/>
                  </a:lnTo>
                  <a:lnTo>
                    <a:pt x="1347" y="986"/>
                  </a:lnTo>
                  <a:cubicBezTo>
                    <a:pt x="1342" y="995"/>
                    <a:pt x="1334" y="1002"/>
                    <a:pt x="1324" y="1005"/>
                  </a:cubicBezTo>
                  <a:lnTo>
                    <a:pt x="1321" y="1006"/>
                  </a:lnTo>
                  <a:cubicBezTo>
                    <a:pt x="1307" y="1011"/>
                    <a:pt x="1291" y="1007"/>
                    <a:pt x="1280" y="997"/>
                  </a:cubicBezTo>
                  <a:lnTo>
                    <a:pt x="1278" y="995"/>
                  </a:lnTo>
                  <a:lnTo>
                    <a:pt x="1304" y="1021"/>
                  </a:lnTo>
                  <a:lnTo>
                    <a:pt x="1337" y="989"/>
                  </a:lnTo>
                  <a:lnTo>
                    <a:pt x="1337" y="988"/>
                  </a:lnTo>
                  <a:lnTo>
                    <a:pt x="1333" y="1001"/>
                  </a:lnTo>
                  <a:lnTo>
                    <a:pt x="1327" y="1027"/>
                  </a:lnTo>
                  <a:lnTo>
                    <a:pt x="1324" y="1046"/>
                  </a:lnTo>
                  <a:lnTo>
                    <a:pt x="1322" y="1074"/>
                  </a:lnTo>
                  <a:lnTo>
                    <a:pt x="1319" y="1095"/>
                  </a:lnTo>
                  <a:lnTo>
                    <a:pt x="1316" y="1125"/>
                  </a:lnTo>
                  <a:lnTo>
                    <a:pt x="1311" y="1151"/>
                  </a:lnTo>
                  <a:lnTo>
                    <a:pt x="1306" y="1175"/>
                  </a:lnTo>
                  <a:lnTo>
                    <a:pt x="1300" y="1195"/>
                  </a:lnTo>
                  <a:lnTo>
                    <a:pt x="1296" y="1204"/>
                  </a:lnTo>
                  <a:cubicBezTo>
                    <a:pt x="1294" y="1207"/>
                    <a:pt x="1292" y="1210"/>
                    <a:pt x="1290" y="1213"/>
                  </a:cubicBezTo>
                  <a:lnTo>
                    <a:pt x="1279" y="1226"/>
                  </a:lnTo>
                  <a:cubicBezTo>
                    <a:pt x="1276" y="1229"/>
                    <a:pt x="1273" y="1232"/>
                    <a:pt x="1270" y="1234"/>
                  </a:cubicBezTo>
                  <a:lnTo>
                    <a:pt x="1255" y="1244"/>
                  </a:lnTo>
                  <a:lnTo>
                    <a:pt x="1247" y="1249"/>
                  </a:lnTo>
                  <a:lnTo>
                    <a:pt x="1243" y="1260"/>
                  </a:lnTo>
                  <a:lnTo>
                    <a:pt x="1241" y="1274"/>
                  </a:lnTo>
                  <a:lnTo>
                    <a:pt x="1245" y="1287"/>
                  </a:lnTo>
                  <a:lnTo>
                    <a:pt x="1250" y="1299"/>
                  </a:lnTo>
                  <a:cubicBezTo>
                    <a:pt x="1252" y="1303"/>
                    <a:pt x="1253" y="1307"/>
                    <a:pt x="1253" y="1311"/>
                  </a:cubicBezTo>
                  <a:lnTo>
                    <a:pt x="1254" y="1322"/>
                  </a:lnTo>
                  <a:cubicBezTo>
                    <a:pt x="1255" y="1329"/>
                    <a:pt x="1254" y="1336"/>
                    <a:pt x="1251" y="1343"/>
                  </a:cubicBezTo>
                  <a:lnTo>
                    <a:pt x="1242" y="1362"/>
                  </a:lnTo>
                  <a:cubicBezTo>
                    <a:pt x="1240" y="1365"/>
                    <a:pt x="1238" y="1368"/>
                    <a:pt x="1235" y="1371"/>
                  </a:cubicBezTo>
                  <a:lnTo>
                    <a:pt x="1219" y="1390"/>
                  </a:lnTo>
                  <a:lnTo>
                    <a:pt x="1205" y="1404"/>
                  </a:lnTo>
                  <a:lnTo>
                    <a:pt x="1192" y="1416"/>
                  </a:lnTo>
                  <a:lnTo>
                    <a:pt x="1179" y="1432"/>
                  </a:lnTo>
                  <a:lnTo>
                    <a:pt x="1170" y="1448"/>
                  </a:lnTo>
                  <a:lnTo>
                    <a:pt x="1161" y="1479"/>
                  </a:lnTo>
                  <a:lnTo>
                    <a:pt x="1152" y="1519"/>
                  </a:lnTo>
                  <a:cubicBezTo>
                    <a:pt x="1152" y="1521"/>
                    <a:pt x="1151" y="1523"/>
                    <a:pt x="1151" y="1525"/>
                  </a:cubicBezTo>
                  <a:lnTo>
                    <a:pt x="1141" y="1551"/>
                  </a:lnTo>
                  <a:lnTo>
                    <a:pt x="1135" y="1567"/>
                  </a:lnTo>
                  <a:lnTo>
                    <a:pt x="1136" y="1575"/>
                  </a:lnTo>
                  <a:lnTo>
                    <a:pt x="1129" y="1564"/>
                  </a:lnTo>
                  <a:lnTo>
                    <a:pt x="1112" y="1565"/>
                  </a:lnTo>
                  <a:lnTo>
                    <a:pt x="1124" y="1561"/>
                  </a:lnTo>
                  <a:lnTo>
                    <a:pt x="1139" y="1556"/>
                  </a:lnTo>
                  <a:cubicBezTo>
                    <a:pt x="1143" y="1554"/>
                    <a:pt x="1147" y="1553"/>
                    <a:pt x="1151" y="1553"/>
                  </a:cubicBezTo>
                  <a:lnTo>
                    <a:pt x="1161" y="1553"/>
                  </a:lnTo>
                  <a:cubicBezTo>
                    <a:pt x="1180" y="1553"/>
                    <a:pt x="1196" y="1566"/>
                    <a:pt x="1201" y="1585"/>
                  </a:cubicBezTo>
                  <a:lnTo>
                    <a:pt x="1203" y="1594"/>
                  </a:lnTo>
                  <a:cubicBezTo>
                    <a:pt x="1204" y="1599"/>
                    <a:pt x="1204" y="1605"/>
                    <a:pt x="1203" y="1610"/>
                  </a:cubicBezTo>
                  <a:lnTo>
                    <a:pt x="1199" y="1629"/>
                  </a:lnTo>
                  <a:lnTo>
                    <a:pt x="1195" y="1642"/>
                  </a:lnTo>
                  <a:lnTo>
                    <a:pt x="1194" y="1647"/>
                  </a:lnTo>
                  <a:lnTo>
                    <a:pt x="1192" y="1639"/>
                  </a:lnTo>
                  <a:lnTo>
                    <a:pt x="1192" y="1639"/>
                  </a:lnTo>
                  <a:cubicBezTo>
                    <a:pt x="1193" y="1642"/>
                    <a:pt x="1195" y="1645"/>
                    <a:pt x="1196" y="1647"/>
                  </a:cubicBezTo>
                  <a:lnTo>
                    <a:pt x="1199" y="1655"/>
                  </a:lnTo>
                  <a:cubicBezTo>
                    <a:pt x="1201" y="1660"/>
                    <a:pt x="1201" y="1665"/>
                    <a:pt x="1201" y="1669"/>
                  </a:cubicBezTo>
                  <a:lnTo>
                    <a:pt x="1201" y="1686"/>
                  </a:lnTo>
                  <a:lnTo>
                    <a:pt x="1199" y="1713"/>
                  </a:lnTo>
                  <a:lnTo>
                    <a:pt x="1193" y="1747"/>
                  </a:lnTo>
                  <a:lnTo>
                    <a:pt x="1185" y="1783"/>
                  </a:lnTo>
                  <a:lnTo>
                    <a:pt x="1175" y="1810"/>
                  </a:lnTo>
                  <a:cubicBezTo>
                    <a:pt x="1173" y="1815"/>
                    <a:pt x="1171" y="1818"/>
                    <a:pt x="1168" y="1822"/>
                  </a:cubicBezTo>
                  <a:lnTo>
                    <a:pt x="1140" y="1856"/>
                  </a:lnTo>
                  <a:cubicBezTo>
                    <a:pt x="1138" y="1858"/>
                    <a:pt x="1136" y="1861"/>
                    <a:pt x="1133" y="1863"/>
                  </a:cubicBezTo>
                  <a:lnTo>
                    <a:pt x="1099" y="1888"/>
                  </a:lnTo>
                  <a:cubicBezTo>
                    <a:pt x="1097" y="1889"/>
                    <a:pt x="1096" y="1890"/>
                    <a:pt x="1094" y="1891"/>
                  </a:cubicBezTo>
                  <a:lnTo>
                    <a:pt x="1056" y="1910"/>
                  </a:lnTo>
                  <a:lnTo>
                    <a:pt x="1021" y="1923"/>
                  </a:lnTo>
                  <a:lnTo>
                    <a:pt x="983" y="1936"/>
                  </a:lnTo>
                  <a:lnTo>
                    <a:pt x="954" y="1949"/>
                  </a:lnTo>
                  <a:lnTo>
                    <a:pt x="941" y="1963"/>
                  </a:lnTo>
                  <a:lnTo>
                    <a:pt x="926" y="1986"/>
                  </a:lnTo>
                  <a:cubicBezTo>
                    <a:pt x="924" y="1988"/>
                    <a:pt x="923" y="1989"/>
                    <a:pt x="922" y="1991"/>
                  </a:cubicBezTo>
                  <a:lnTo>
                    <a:pt x="896" y="2018"/>
                  </a:lnTo>
                  <a:lnTo>
                    <a:pt x="883" y="2033"/>
                  </a:lnTo>
                  <a:lnTo>
                    <a:pt x="874" y="2043"/>
                  </a:lnTo>
                  <a:cubicBezTo>
                    <a:pt x="872" y="2046"/>
                    <a:pt x="869" y="2048"/>
                    <a:pt x="867" y="2050"/>
                  </a:cubicBezTo>
                  <a:lnTo>
                    <a:pt x="864" y="2052"/>
                  </a:lnTo>
                  <a:cubicBezTo>
                    <a:pt x="848" y="2062"/>
                    <a:pt x="827" y="2060"/>
                    <a:pt x="813" y="2047"/>
                  </a:cubicBezTo>
                  <a:cubicBezTo>
                    <a:pt x="800" y="2033"/>
                    <a:pt x="798" y="2012"/>
                    <a:pt x="808" y="1996"/>
                  </a:cubicBezTo>
                  <a:lnTo>
                    <a:pt x="807" y="1998"/>
                  </a:lnTo>
                  <a:lnTo>
                    <a:pt x="807" y="2000"/>
                  </a:lnTo>
                  <a:lnTo>
                    <a:pt x="869" y="2044"/>
                  </a:lnTo>
                  <a:lnTo>
                    <a:pt x="867" y="2046"/>
                  </a:lnTo>
                  <a:lnTo>
                    <a:pt x="854" y="2060"/>
                  </a:lnTo>
                  <a:lnTo>
                    <a:pt x="833" y="2081"/>
                  </a:lnTo>
                  <a:lnTo>
                    <a:pt x="811" y="2103"/>
                  </a:lnTo>
                  <a:lnTo>
                    <a:pt x="795" y="2118"/>
                  </a:lnTo>
                  <a:cubicBezTo>
                    <a:pt x="792" y="2121"/>
                    <a:pt x="788" y="2123"/>
                    <a:pt x="784" y="2125"/>
                  </a:cubicBezTo>
                  <a:lnTo>
                    <a:pt x="775" y="2129"/>
                  </a:lnTo>
                  <a:cubicBezTo>
                    <a:pt x="763" y="2134"/>
                    <a:pt x="749" y="2133"/>
                    <a:pt x="738" y="2127"/>
                  </a:cubicBezTo>
                  <a:lnTo>
                    <a:pt x="729" y="2121"/>
                  </a:lnTo>
                  <a:lnTo>
                    <a:pt x="741" y="2130"/>
                  </a:lnTo>
                  <a:lnTo>
                    <a:pt x="762" y="2124"/>
                  </a:lnTo>
                  <a:lnTo>
                    <a:pt x="759" y="2128"/>
                  </a:lnTo>
                  <a:lnTo>
                    <a:pt x="747" y="2139"/>
                  </a:lnTo>
                  <a:lnTo>
                    <a:pt x="722" y="2166"/>
                  </a:lnTo>
                  <a:lnTo>
                    <a:pt x="703" y="2197"/>
                  </a:lnTo>
                  <a:lnTo>
                    <a:pt x="691" y="2216"/>
                  </a:lnTo>
                  <a:lnTo>
                    <a:pt x="683" y="2226"/>
                  </a:lnTo>
                  <a:cubicBezTo>
                    <a:pt x="678" y="2232"/>
                    <a:pt x="672" y="2236"/>
                    <a:pt x="666" y="2239"/>
                  </a:cubicBezTo>
                  <a:lnTo>
                    <a:pt x="658" y="2242"/>
                  </a:lnTo>
                  <a:cubicBezTo>
                    <a:pt x="647" y="2246"/>
                    <a:pt x="636" y="2245"/>
                    <a:pt x="626" y="2240"/>
                  </a:cubicBezTo>
                  <a:lnTo>
                    <a:pt x="623" y="2239"/>
                  </a:lnTo>
                  <a:lnTo>
                    <a:pt x="621" y="2238"/>
                  </a:lnTo>
                  <a:lnTo>
                    <a:pt x="618" y="2239"/>
                  </a:lnTo>
                  <a:cubicBezTo>
                    <a:pt x="615" y="2240"/>
                    <a:pt x="612" y="2240"/>
                    <a:pt x="609" y="2240"/>
                  </a:cubicBezTo>
                  <a:lnTo>
                    <a:pt x="591" y="2241"/>
                  </a:lnTo>
                  <a:cubicBezTo>
                    <a:pt x="581" y="2242"/>
                    <a:pt x="570" y="2239"/>
                    <a:pt x="563" y="2232"/>
                  </a:cubicBezTo>
                  <a:lnTo>
                    <a:pt x="540" y="2213"/>
                  </a:lnTo>
                  <a:lnTo>
                    <a:pt x="525" y="2196"/>
                  </a:lnTo>
                  <a:lnTo>
                    <a:pt x="507" y="2181"/>
                  </a:lnTo>
                  <a:lnTo>
                    <a:pt x="496" y="2175"/>
                  </a:lnTo>
                  <a:lnTo>
                    <a:pt x="477" y="2174"/>
                  </a:lnTo>
                  <a:lnTo>
                    <a:pt x="446" y="2175"/>
                  </a:lnTo>
                  <a:cubicBezTo>
                    <a:pt x="443" y="2176"/>
                    <a:pt x="440" y="2175"/>
                    <a:pt x="437" y="2175"/>
                  </a:cubicBezTo>
                  <a:lnTo>
                    <a:pt x="415" y="2171"/>
                  </a:lnTo>
                  <a:cubicBezTo>
                    <a:pt x="413" y="2170"/>
                    <a:pt x="410" y="2170"/>
                    <a:pt x="407" y="2168"/>
                  </a:cubicBezTo>
                  <a:lnTo>
                    <a:pt x="390" y="2161"/>
                  </a:lnTo>
                  <a:cubicBezTo>
                    <a:pt x="385" y="2159"/>
                    <a:pt x="380" y="2156"/>
                    <a:pt x="376" y="2151"/>
                  </a:cubicBezTo>
                  <a:lnTo>
                    <a:pt x="368" y="2143"/>
                  </a:lnTo>
                  <a:lnTo>
                    <a:pt x="359" y="2134"/>
                  </a:lnTo>
                  <a:lnTo>
                    <a:pt x="334" y="2123"/>
                  </a:lnTo>
                  <a:lnTo>
                    <a:pt x="304" y="2105"/>
                  </a:lnTo>
                  <a:cubicBezTo>
                    <a:pt x="301" y="2103"/>
                    <a:pt x="298" y="2100"/>
                    <a:pt x="295" y="2098"/>
                  </a:cubicBezTo>
                  <a:lnTo>
                    <a:pt x="279" y="2080"/>
                  </a:lnTo>
                  <a:lnTo>
                    <a:pt x="265" y="2062"/>
                  </a:lnTo>
                  <a:lnTo>
                    <a:pt x="243" y="2033"/>
                  </a:lnTo>
                  <a:lnTo>
                    <a:pt x="224" y="2014"/>
                  </a:lnTo>
                  <a:lnTo>
                    <a:pt x="208" y="1997"/>
                  </a:lnTo>
                  <a:cubicBezTo>
                    <a:pt x="205" y="1993"/>
                    <a:pt x="202" y="1988"/>
                    <a:pt x="200" y="1983"/>
                  </a:cubicBezTo>
                  <a:lnTo>
                    <a:pt x="192" y="1960"/>
                  </a:lnTo>
                  <a:lnTo>
                    <a:pt x="186" y="1937"/>
                  </a:lnTo>
                  <a:lnTo>
                    <a:pt x="184" y="1931"/>
                  </a:lnTo>
                  <a:lnTo>
                    <a:pt x="212" y="1946"/>
                  </a:lnTo>
                  <a:lnTo>
                    <a:pt x="233" y="1932"/>
                  </a:lnTo>
                  <a:lnTo>
                    <a:pt x="223" y="1948"/>
                  </a:lnTo>
                  <a:lnTo>
                    <a:pt x="206" y="1985"/>
                  </a:lnTo>
                  <a:lnTo>
                    <a:pt x="185" y="2037"/>
                  </a:lnTo>
                  <a:lnTo>
                    <a:pt x="165" y="2100"/>
                  </a:lnTo>
                  <a:lnTo>
                    <a:pt x="144" y="2171"/>
                  </a:lnTo>
                  <a:lnTo>
                    <a:pt x="123" y="2256"/>
                  </a:lnTo>
                  <a:lnTo>
                    <a:pt x="100" y="2346"/>
                  </a:lnTo>
                  <a:lnTo>
                    <a:pt x="78" y="2442"/>
                  </a:lnTo>
                  <a:lnTo>
                    <a:pt x="52" y="2436"/>
                  </a:lnTo>
                  <a:close/>
                </a:path>
              </a:pathLst>
            </a:custGeom>
            <a:solidFill>
              <a:srgbClr val="C00000"/>
            </a:solidFill>
            <a:ln w="0" cap="flat">
              <a:solidFill>
                <a:srgbClr val="C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31" name="Picture 17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646269" y="3048052"/>
              <a:ext cx="599684" cy="4569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" name="Picture 18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2646269" y="3048052"/>
              <a:ext cx="599684" cy="4569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3" name="Freeform 19"/>
            <p:cNvSpPr>
              <a:spLocks noEditPoints="1"/>
            </p:cNvSpPr>
            <p:nvPr/>
          </p:nvSpPr>
          <p:spPr bwMode="auto">
            <a:xfrm>
              <a:off x="2693738" y="3078514"/>
              <a:ext cx="493672" cy="348784"/>
            </a:xfrm>
            <a:custGeom>
              <a:avLst/>
              <a:gdLst/>
              <a:ahLst/>
              <a:cxnLst>
                <a:cxn ang="0">
                  <a:pos x="94" y="512"/>
                </a:cxn>
                <a:cxn ang="0">
                  <a:pos x="131" y="411"/>
                </a:cxn>
                <a:cxn ang="0">
                  <a:pos x="169" y="352"/>
                </a:cxn>
                <a:cxn ang="0">
                  <a:pos x="209" y="297"/>
                </a:cxn>
                <a:cxn ang="0">
                  <a:pos x="238" y="238"/>
                </a:cxn>
                <a:cxn ang="0">
                  <a:pos x="365" y="170"/>
                </a:cxn>
                <a:cxn ang="0">
                  <a:pos x="420" y="171"/>
                </a:cxn>
                <a:cxn ang="0">
                  <a:pos x="500" y="153"/>
                </a:cxn>
                <a:cxn ang="0">
                  <a:pos x="576" y="95"/>
                </a:cxn>
                <a:cxn ang="0">
                  <a:pos x="630" y="62"/>
                </a:cxn>
                <a:cxn ang="0">
                  <a:pos x="668" y="82"/>
                </a:cxn>
                <a:cxn ang="0">
                  <a:pos x="737" y="32"/>
                </a:cxn>
                <a:cxn ang="0">
                  <a:pos x="739" y="11"/>
                </a:cxn>
                <a:cxn ang="0">
                  <a:pos x="831" y="26"/>
                </a:cxn>
                <a:cxn ang="0">
                  <a:pos x="950" y="47"/>
                </a:cxn>
                <a:cxn ang="0">
                  <a:pos x="811" y="53"/>
                </a:cxn>
                <a:cxn ang="0">
                  <a:pos x="751" y="36"/>
                </a:cxn>
                <a:cxn ang="0">
                  <a:pos x="725" y="57"/>
                </a:cxn>
                <a:cxn ang="0">
                  <a:pos x="690" y="100"/>
                </a:cxn>
                <a:cxn ang="0">
                  <a:pos x="627" y="90"/>
                </a:cxn>
                <a:cxn ang="0">
                  <a:pos x="556" y="122"/>
                </a:cxn>
                <a:cxn ang="0">
                  <a:pos x="489" y="179"/>
                </a:cxn>
                <a:cxn ang="0">
                  <a:pos x="431" y="198"/>
                </a:cxn>
                <a:cxn ang="0">
                  <a:pos x="344" y="197"/>
                </a:cxn>
                <a:cxn ang="0">
                  <a:pos x="267" y="242"/>
                </a:cxn>
                <a:cxn ang="0">
                  <a:pos x="232" y="323"/>
                </a:cxn>
                <a:cxn ang="0">
                  <a:pos x="196" y="368"/>
                </a:cxn>
                <a:cxn ang="0">
                  <a:pos x="149" y="432"/>
                </a:cxn>
                <a:cxn ang="0">
                  <a:pos x="116" y="527"/>
                </a:cxn>
                <a:cxn ang="0">
                  <a:pos x="30" y="613"/>
                </a:cxn>
                <a:cxn ang="0">
                  <a:pos x="141" y="538"/>
                </a:cxn>
                <a:cxn ang="0">
                  <a:pos x="170" y="448"/>
                </a:cxn>
                <a:cxn ang="0">
                  <a:pos x="223" y="367"/>
                </a:cxn>
                <a:cxn ang="0">
                  <a:pos x="257" y="330"/>
                </a:cxn>
                <a:cxn ang="0">
                  <a:pos x="296" y="247"/>
                </a:cxn>
                <a:cxn ang="0">
                  <a:pos x="347" y="224"/>
                </a:cxn>
                <a:cxn ang="0">
                  <a:pos x="437" y="229"/>
                </a:cxn>
                <a:cxn ang="0">
                  <a:pos x="501" y="207"/>
                </a:cxn>
                <a:cxn ang="0">
                  <a:pos x="549" y="159"/>
                </a:cxn>
                <a:cxn ang="0">
                  <a:pos x="615" y="120"/>
                </a:cxn>
                <a:cxn ang="0">
                  <a:pos x="706" y="122"/>
                </a:cxn>
                <a:cxn ang="0">
                  <a:pos x="731" y="85"/>
                </a:cxn>
                <a:cxn ang="0">
                  <a:pos x="769" y="61"/>
                </a:cxn>
                <a:cxn ang="0">
                  <a:pos x="803" y="79"/>
                </a:cxn>
                <a:cxn ang="0">
                  <a:pos x="911" y="74"/>
                </a:cxn>
                <a:cxn ang="0">
                  <a:pos x="843" y="105"/>
                </a:cxn>
                <a:cxn ang="0">
                  <a:pos x="755" y="81"/>
                </a:cxn>
                <a:cxn ang="0">
                  <a:pos x="755" y="112"/>
                </a:cxn>
                <a:cxn ang="0">
                  <a:pos x="743" y="107"/>
                </a:cxn>
                <a:cxn ang="0">
                  <a:pos x="663" y="148"/>
                </a:cxn>
                <a:cxn ang="0">
                  <a:pos x="569" y="176"/>
                </a:cxn>
                <a:cxn ang="0">
                  <a:pos x="540" y="221"/>
                </a:cxn>
                <a:cxn ang="0">
                  <a:pos x="475" y="229"/>
                </a:cxn>
                <a:cxn ang="0">
                  <a:pos x="396" y="258"/>
                </a:cxn>
                <a:cxn ang="0">
                  <a:pos x="321" y="239"/>
                </a:cxn>
                <a:cxn ang="0">
                  <a:pos x="298" y="307"/>
                </a:cxn>
                <a:cxn ang="0">
                  <a:pos x="232" y="389"/>
                </a:cxn>
                <a:cxn ang="0">
                  <a:pos x="240" y="413"/>
                </a:cxn>
                <a:cxn ang="0">
                  <a:pos x="175" y="522"/>
                </a:cxn>
                <a:cxn ang="0">
                  <a:pos x="130" y="579"/>
                </a:cxn>
              </a:cxnLst>
              <a:rect l="0" t="0" r="r" b="b"/>
              <a:pathLst>
                <a:path w="950" h="635">
                  <a:moveTo>
                    <a:pt x="0" y="568"/>
                  </a:moveTo>
                  <a:lnTo>
                    <a:pt x="79" y="515"/>
                  </a:lnTo>
                  <a:lnTo>
                    <a:pt x="93" y="507"/>
                  </a:lnTo>
                  <a:cubicBezTo>
                    <a:pt x="96" y="506"/>
                    <a:pt x="99" y="504"/>
                    <a:pt x="103" y="504"/>
                  </a:cubicBezTo>
                  <a:lnTo>
                    <a:pt x="105" y="503"/>
                  </a:lnTo>
                  <a:lnTo>
                    <a:pt x="98" y="507"/>
                  </a:lnTo>
                  <a:lnTo>
                    <a:pt x="94" y="512"/>
                  </a:lnTo>
                  <a:lnTo>
                    <a:pt x="96" y="506"/>
                  </a:lnTo>
                  <a:lnTo>
                    <a:pt x="99" y="490"/>
                  </a:lnTo>
                  <a:lnTo>
                    <a:pt x="102" y="471"/>
                  </a:lnTo>
                  <a:lnTo>
                    <a:pt x="107" y="450"/>
                  </a:lnTo>
                  <a:cubicBezTo>
                    <a:pt x="108" y="445"/>
                    <a:pt x="110" y="441"/>
                    <a:pt x="113" y="437"/>
                  </a:cubicBezTo>
                  <a:lnTo>
                    <a:pt x="127" y="417"/>
                  </a:lnTo>
                  <a:cubicBezTo>
                    <a:pt x="128" y="415"/>
                    <a:pt x="130" y="413"/>
                    <a:pt x="131" y="411"/>
                  </a:cubicBezTo>
                  <a:lnTo>
                    <a:pt x="147" y="395"/>
                  </a:lnTo>
                  <a:lnTo>
                    <a:pt x="167" y="376"/>
                  </a:lnTo>
                  <a:lnTo>
                    <a:pt x="172" y="370"/>
                  </a:lnTo>
                  <a:lnTo>
                    <a:pt x="171" y="378"/>
                  </a:lnTo>
                  <a:lnTo>
                    <a:pt x="170" y="377"/>
                  </a:lnTo>
                  <a:cubicBezTo>
                    <a:pt x="170" y="374"/>
                    <a:pt x="169" y="371"/>
                    <a:pt x="169" y="368"/>
                  </a:cubicBezTo>
                  <a:lnTo>
                    <a:pt x="169" y="352"/>
                  </a:lnTo>
                  <a:cubicBezTo>
                    <a:pt x="169" y="334"/>
                    <a:pt x="183" y="317"/>
                    <a:pt x="201" y="313"/>
                  </a:cubicBezTo>
                  <a:lnTo>
                    <a:pt x="215" y="310"/>
                  </a:lnTo>
                  <a:cubicBezTo>
                    <a:pt x="218" y="310"/>
                    <a:pt x="221" y="309"/>
                    <a:pt x="223" y="309"/>
                  </a:cubicBezTo>
                  <a:lnTo>
                    <a:pt x="224" y="309"/>
                  </a:lnTo>
                  <a:lnTo>
                    <a:pt x="205" y="318"/>
                  </a:lnTo>
                  <a:lnTo>
                    <a:pt x="206" y="317"/>
                  </a:lnTo>
                  <a:lnTo>
                    <a:pt x="209" y="297"/>
                  </a:lnTo>
                  <a:cubicBezTo>
                    <a:pt x="210" y="291"/>
                    <a:pt x="213" y="285"/>
                    <a:pt x="217" y="280"/>
                  </a:cubicBezTo>
                  <a:lnTo>
                    <a:pt x="227" y="267"/>
                  </a:lnTo>
                  <a:lnTo>
                    <a:pt x="237" y="256"/>
                  </a:lnTo>
                  <a:lnTo>
                    <a:pt x="242" y="248"/>
                  </a:lnTo>
                  <a:lnTo>
                    <a:pt x="243" y="256"/>
                  </a:lnTo>
                  <a:lnTo>
                    <a:pt x="241" y="250"/>
                  </a:lnTo>
                  <a:lnTo>
                    <a:pt x="238" y="238"/>
                  </a:lnTo>
                  <a:cubicBezTo>
                    <a:pt x="236" y="227"/>
                    <a:pt x="238" y="215"/>
                    <a:pt x="245" y="205"/>
                  </a:cubicBezTo>
                  <a:lnTo>
                    <a:pt x="251" y="197"/>
                  </a:lnTo>
                  <a:cubicBezTo>
                    <a:pt x="257" y="191"/>
                    <a:pt x="264" y="186"/>
                    <a:pt x="272" y="183"/>
                  </a:cubicBezTo>
                  <a:lnTo>
                    <a:pt x="288" y="178"/>
                  </a:lnTo>
                  <a:lnTo>
                    <a:pt x="314" y="173"/>
                  </a:lnTo>
                  <a:lnTo>
                    <a:pt x="342" y="171"/>
                  </a:lnTo>
                  <a:lnTo>
                    <a:pt x="365" y="170"/>
                  </a:lnTo>
                  <a:cubicBezTo>
                    <a:pt x="368" y="169"/>
                    <a:pt x="372" y="170"/>
                    <a:pt x="376" y="171"/>
                  </a:cubicBezTo>
                  <a:lnTo>
                    <a:pt x="406" y="178"/>
                  </a:lnTo>
                  <a:lnTo>
                    <a:pt x="417" y="181"/>
                  </a:lnTo>
                  <a:lnTo>
                    <a:pt x="413" y="181"/>
                  </a:lnTo>
                  <a:lnTo>
                    <a:pt x="408" y="183"/>
                  </a:lnTo>
                  <a:lnTo>
                    <a:pt x="412" y="179"/>
                  </a:lnTo>
                  <a:lnTo>
                    <a:pt x="420" y="171"/>
                  </a:lnTo>
                  <a:cubicBezTo>
                    <a:pt x="422" y="168"/>
                    <a:pt x="425" y="165"/>
                    <a:pt x="429" y="163"/>
                  </a:cubicBezTo>
                  <a:lnTo>
                    <a:pt x="439" y="157"/>
                  </a:lnTo>
                  <a:cubicBezTo>
                    <a:pt x="444" y="154"/>
                    <a:pt x="450" y="152"/>
                    <a:pt x="456" y="152"/>
                  </a:cubicBezTo>
                  <a:lnTo>
                    <a:pt x="469" y="151"/>
                  </a:lnTo>
                  <a:cubicBezTo>
                    <a:pt x="472" y="150"/>
                    <a:pt x="475" y="150"/>
                    <a:pt x="478" y="151"/>
                  </a:cubicBezTo>
                  <a:lnTo>
                    <a:pt x="493" y="153"/>
                  </a:lnTo>
                  <a:lnTo>
                    <a:pt x="500" y="153"/>
                  </a:lnTo>
                  <a:lnTo>
                    <a:pt x="496" y="154"/>
                  </a:lnTo>
                  <a:lnTo>
                    <a:pt x="490" y="159"/>
                  </a:lnTo>
                  <a:lnTo>
                    <a:pt x="493" y="154"/>
                  </a:lnTo>
                  <a:lnTo>
                    <a:pt x="502" y="133"/>
                  </a:lnTo>
                  <a:cubicBezTo>
                    <a:pt x="505" y="127"/>
                    <a:pt x="510" y="122"/>
                    <a:pt x="515" y="118"/>
                  </a:cubicBezTo>
                  <a:lnTo>
                    <a:pt x="540" y="100"/>
                  </a:lnTo>
                  <a:cubicBezTo>
                    <a:pt x="551" y="92"/>
                    <a:pt x="564" y="90"/>
                    <a:pt x="576" y="95"/>
                  </a:cubicBezTo>
                  <a:lnTo>
                    <a:pt x="585" y="98"/>
                  </a:lnTo>
                  <a:lnTo>
                    <a:pt x="567" y="94"/>
                  </a:lnTo>
                  <a:lnTo>
                    <a:pt x="561" y="105"/>
                  </a:lnTo>
                  <a:lnTo>
                    <a:pt x="575" y="84"/>
                  </a:lnTo>
                  <a:cubicBezTo>
                    <a:pt x="581" y="77"/>
                    <a:pt x="589" y="72"/>
                    <a:pt x="597" y="70"/>
                  </a:cubicBezTo>
                  <a:lnTo>
                    <a:pt x="620" y="64"/>
                  </a:lnTo>
                  <a:cubicBezTo>
                    <a:pt x="624" y="63"/>
                    <a:pt x="627" y="62"/>
                    <a:pt x="630" y="62"/>
                  </a:cubicBezTo>
                  <a:lnTo>
                    <a:pt x="656" y="62"/>
                  </a:lnTo>
                  <a:cubicBezTo>
                    <a:pt x="661" y="62"/>
                    <a:pt x="666" y="63"/>
                    <a:pt x="671" y="65"/>
                  </a:cubicBezTo>
                  <a:lnTo>
                    <a:pt x="692" y="73"/>
                  </a:lnTo>
                  <a:lnTo>
                    <a:pt x="695" y="74"/>
                  </a:lnTo>
                  <a:lnTo>
                    <a:pt x="675" y="74"/>
                  </a:lnTo>
                  <a:lnTo>
                    <a:pt x="666" y="88"/>
                  </a:lnTo>
                  <a:lnTo>
                    <a:pt x="668" y="82"/>
                  </a:lnTo>
                  <a:lnTo>
                    <a:pt x="671" y="70"/>
                  </a:lnTo>
                  <a:cubicBezTo>
                    <a:pt x="672" y="66"/>
                    <a:pt x="674" y="62"/>
                    <a:pt x="676" y="59"/>
                  </a:cubicBezTo>
                  <a:lnTo>
                    <a:pt x="682" y="50"/>
                  </a:lnTo>
                  <a:cubicBezTo>
                    <a:pt x="688" y="42"/>
                    <a:pt x="696" y="36"/>
                    <a:pt x="706" y="34"/>
                  </a:cubicBezTo>
                  <a:lnTo>
                    <a:pt x="714" y="32"/>
                  </a:lnTo>
                  <a:cubicBezTo>
                    <a:pt x="718" y="31"/>
                    <a:pt x="723" y="30"/>
                    <a:pt x="728" y="31"/>
                  </a:cubicBezTo>
                  <a:lnTo>
                    <a:pt x="737" y="32"/>
                  </a:lnTo>
                  <a:lnTo>
                    <a:pt x="744" y="33"/>
                  </a:lnTo>
                  <a:lnTo>
                    <a:pt x="724" y="36"/>
                  </a:lnTo>
                  <a:lnTo>
                    <a:pt x="717" y="49"/>
                  </a:lnTo>
                  <a:lnTo>
                    <a:pt x="719" y="44"/>
                  </a:lnTo>
                  <a:lnTo>
                    <a:pt x="721" y="35"/>
                  </a:lnTo>
                  <a:cubicBezTo>
                    <a:pt x="723" y="27"/>
                    <a:pt x="728" y="20"/>
                    <a:pt x="734" y="15"/>
                  </a:cubicBezTo>
                  <a:lnTo>
                    <a:pt x="739" y="11"/>
                  </a:lnTo>
                  <a:cubicBezTo>
                    <a:pt x="750" y="3"/>
                    <a:pt x="764" y="0"/>
                    <a:pt x="777" y="5"/>
                  </a:cubicBezTo>
                  <a:lnTo>
                    <a:pt x="786" y="8"/>
                  </a:lnTo>
                  <a:cubicBezTo>
                    <a:pt x="790" y="9"/>
                    <a:pt x="794" y="11"/>
                    <a:pt x="797" y="13"/>
                  </a:cubicBezTo>
                  <a:lnTo>
                    <a:pt x="808" y="21"/>
                  </a:lnTo>
                  <a:lnTo>
                    <a:pt x="815" y="26"/>
                  </a:lnTo>
                  <a:lnTo>
                    <a:pt x="816" y="26"/>
                  </a:lnTo>
                  <a:lnTo>
                    <a:pt x="831" y="26"/>
                  </a:lnTo>
                  <a:lnTo>
                    <a:pt x="855" y="21"/>
                  </a:lnTo>
                  <a:cubicBezTo>
                    <a:pt x="858" y="21"/>
                    <a:pt x="860" y="20"/>
                    <a:pt x="862" y="20"/>
                  </a:cubicBezTo>
                  <a:lnTo>
                    <a:pt x="893" y="20"/>
                  </a:lnTo>
                  <a:lnTo>
                    <a:pt x="906" y="20"/>
                  </a:lnTo>
                  <a:lnTo>
                    <a:pt x="911" y="20"/>
                  </a:lnTo>
                  <a:lnTo>
                    <a:pt x="950" y="20"/>
                  </a:lnTo>
                  <a:lnTo>
                    <a:pt x="950" y="47"/>
                  </a:lnTo>
                  <a:lnTo>
                    <a:pt x="911" y="47"/>
                  </a:lnTo>
                  <a:lnTo>
                    <a:pt x="906" y="47"/>
                  </a:lnTo>
                  <a:lnTo>
                    <a:pt x="893" y="47"/>
                  </a:lnTo>
                  <a:lnTo>
                    <a:pt x="862" y="47"/>
                  </a:lnTo>
                  <a:cubicBezTo>
                    <a:pt x="862" y="47"/>
                    <a:pt x="861" y="47"/>
                    <a:pt x="860" y="47"/>
                  </a:cubicBezTo>
                  <a:lnTo>
                    <a:pt x="834" y="52"/>
                  </a:lnTo>
                  <a:lnTo>
                    <a:pt x="811" y="53"/>
                  </a:lnTo>
                  <a:lnTo>
                    <a:pt x="803" y="50"/>
                  </a:lnTo>
                  <a:lnTo>
                    <a:pt x="792" y="43"/>
                  </a:lnTo>
                  <a:lnTo>
                    <a:pt x="781" y="35"/>
                  </a:lnTo>
                  <a:cubicBezTo>
                    <a:pt x="780" y="34"/>
                    <a:pt x="779" y="33"/>
                    <a:pt x="778" y="33"/>
                  </a:cubicBezTo>
                  <a:lnTo>
                    <a:pt x="769" y="30"/>
                  </a:lnTo>
                  <a:cubicBezTo>
                    <a:pt x="764" y="28"/>
                    <a:pt x="760" y="29"/>
                    <a:pt x="756" y="32"/>
                  </a:cubicBezTo>
                  <a:lnTo>
                    <a:pt x="751" y="36"/>
                  </a:lnTo>
                  <a:cubicBezTo>
                    <a:pt x="749" y="38"/>
                    <a:pt x="747" y="40"/>
                    <a:pt x="747" y="43"/>
                  </a:cubicBezTo>
                  <a:lnTo>
                    <a:pt x="744" y="52"/>
                  </a:lnTo>
                  <a:lnTo>
                    <a:pt x="741" y="60"/>
                  </a:lnTo>
                  <a:lnTo>
                    <a:pt x="741" y="60"/>
                  </a:lnTo>
                  <a:lnTo>
                    <a:pt x="743" y="60"/>
                  </a:lnTo>
                  <a:lnTo>
                    <a:pt x="734" y="58"/>
                  </a:lnTo>
                  <a:lnTo>
                    <a:pt x="725" y="57"/>
                  </a:lnTo>
                  <a:cubicBezTo>
                    <a:pt x="723" y="57"/>
                    <a:pt x="722" y="57"/>
                    <a:pt x="720" y="58"/>
                  </a:cubicBezTo>
                  <a:lnTo>
                    <a:pt x="712" y="60"/>
                  </a:lnTo>
                  <a:cubicBezTo>
                    <a:pt x="709" y="60"/>
                    <a:pt x="706" y="62"/>
                    <a:pt x="704" y="65"/>
                  </a:cubicBezTo>
                  <a:lnTo>
                    <a:pt x="698" y="74"/>
                  </a:lnTo>
                  <a:cubicBezTo>
                    <a:pt x="698" y="75"/>
                    <a:pt x="697" y="76"/>
                    <a:pt x="697" y="78"/>
                  </a:cubicBezTo>
                  <a:lnTo>
                    <a:pt x="693" y="90"/>
                  </a:lnTo>
                  <a:lnTo>
                    <a:pt x="690" y="100"/>
                  </a:lnTo>
                  <a:lnTo>
                    <a:pt x="689" y="101"/>
                  </a:lnTo>
                  <a:lnTo>
                    <a:pt x="690" y="101"/>
                  </a:lnTo>
                  <a:lnTo>
                    <a:pt x="682" y="98"/>
                  </a:lnTo>
                  <a:lnTo>
                    <a:pt x="661" y="90"/>
                  </a:lnTo>
                  <a:cubicBezTo>
                    <a:pt x="660" y="89"/>
                    <a:pt x="658" y="89"/>
                    <a:pt x="656" y="89"/>
                  </a:cubicBezTo>
                  <a:lnTo>
                    <a:pt x="630" y="89"/>
                  </a:lnTo>
                  <a:cubicBezTo>
                    <a:pt x="629" y="89"/>
                    <a:pt x="628" y="89"/>
                    <a:pt x="627" y="90"/>
                  </a:cubicBezTo>
                  <a:lnTo>
                    <a:pt x="604" y="96"/>
                  </a:lnTo>
                  <a:cubicBezTo>
                    <a:pt x="601" y="96"/>
                    <a:pt x="599" y="98"/>
                    <a:pt x="597" y="100"/>
                  </a:cubicBezTo>
                  <a:lnTo>
                    <a:pt x="584" y="118"/>
                  </a:lnTo>
                  <a:lnTo>
                    <a:pt x="580" y="124"/>
                  </a:lnTo>
                  <a:lnTo>
                    <a:pt x="579" y="123"/>
                  </a:lnTo>
                  <a:lnTo>
                    <a:pt x="568" y="120"/>
                  </a:lnTo>
                  <a:cubicBezTo>
                    <a:pt x="564" y="118"/>
                    <a:pt x="559" y="119"/>
                    <a:pt x="556" y="122"/>
                  </a:cubicBezTo>
                  <a:lnTo>
                    <a:pt x="531" y="140"/>
                  </a:lnTo>
                  <a:cubicBezTo>
                    <a:pt x="529" y="141"/>
                    <a:pt x="527" y="143"/>
                    <a:pt x="526" y="145"/>
                  </a:cubicBezTo>
                  <a:lnTo>
                    <a:pt x="517" y="166"/>
                  </a:lnTo>
                  <a:lnTo>
                    <a:pt x="512" y="175"/>
                  </a:lnTo>
                  <a:lnTo>
                    <a:pt x="507" y="179"/>
                  </a:lnTo>
                  <a:lnTo>
                    <a:pt x="501" y="180"/>
                  </a:lnTo>
                  <a:lnTo>
                    <a:pt x="489" y="179"/>
                  </a:lnTo>
                  <a:lnTo>
                    <a:pt x="474" y="177"/>
                  </a:lnTo>
                  <a:cubicBezTo>
                    <a:pt x="473" y="177"/>
                    <a:pt x="472" y="177"/>
                    <a:pt x="471" y="177"/>
                  </a:cubicBezTo>
                  <a:lnTo>
                    <a:pt x="458" y="178"/>
                  </a:lnTo>
                  <a:cubicBezTo>
                    <a:pt x="456" y="178"/>
                    <a:pt x="454" y="179"/>
                    <a:pt x="453" y="180"/>
                  </a:cubicBezTo>
                  <a:lnTo>
                    <a:pt x="443" y="186"/>
                  </a:lnTo>
                  <a:cubicBezTo>
                    <a:pt x="441" y="187"/>
                    <a:pt x="440" y="188"/>
                    <a:pt x="440" y="189"/>
                  </a:cubicBezTo>
                  <a:lnTo>
                    <a:pt x="431" y="198"/>
                  </a:lnTo>
                  <a:lnTo>
                    <a:pt x="424" y="205"/>
                  </a:lnTo>
                  <a:lnTo>
                    <a:pt x="418" y="208"/>
                  </a:lnTo>
                  <a:lnTo>
                    <a:pt x="411" y="207"/>
                  </a:lnTo>
                  <a:lnTo>
                    <a:pt x="399" y="203"/>
                  </a:lnTo>
                  <a:lnTo>
                    <a:pt x="369" y="196"/>
                  </a:lnTo>
                  <a:cubicBezTo>
                    <a:pt x="368" y="196"/>
                    <a:pt x="367" y="196"/>
                    <a:pt x="366" y="196"/>
                  </a:cubicBezTo>
                  <a:lnTo>
                    <a:pt x="344" y="197"/>
                  </a:lnTo>
                  <a:lnTo>
                    <a:pt x="319" y="199"/>
                  </a:lnTo>
                  <a:lnTo>
                    <a:pt x="295" y="204"/>
                  </a:lnTo>
                  <a:lnTo>
                    <a:pt x="279" y="209"/>
                  </a:lnTo>
                  <a:cubicBezTo>
                    <a:pt x="277" y="210"/>
                    <a:pt x="274" y="211"/>
                    <a:pt x="273" y="213"/>
                  </a:cubicBezTo>
                  <a:lnTo>
                    <a:pt x="267" y="221"/>
                  </a:lnTo>
                  <a:cubicBezTo>
                    <a:pt x="264" y="225"/>
                    <a:pt x="264" y="229"/>
                    <a:pt x="264" y="232"/>
                  </a:cubicBezTo>
                  <a:lnTo>
                    <a:pt x="267" y="242"/>
                  </a:lnTo>
                  <a:lnTo>
                    <a:pt x="269" y="251"/>
                  </a:lnTo>
                  <a:lnTo>
                    <a:pt x="270" y="254"/>
                  </a:lnTo>
                  <a:lnTo>
                    <a:pt x="258" y="272"/>
                  </a:lnTo>
                  <a:lnTo>
                    <a:pt x="248" y="283"/>
                  </a:lnTo>
                  <a:lnTo>
                    <a:pt x="238" y="296"/>
                  </a:lnTo>
                  <a:cubicBezTo>
                    <a:pt x="237" y="298"/>
                    <a:pt x="236" y="300"/>
                    <a:pt x="235" y="302"/>
                  </a:cubicBezTo>
                  <a:lnTo>
                    <a:pt x="232" y="323"/>
                  </a:lnTo>
                  <a:lnTo>
                    <a:pt x="228" y="337"/>
                  </a:lnTo>
                  <a:lnTo>
                    <a:pt x="230" y="336"/>
                  </a:lnTo>
                  <a:lnTo>
                    <a:pt x="223" y="336"/>
                  </a:lnTo>
                  <a:cubicBezTo>
                    <a:pt x="223" y="336"/>
                    <a:pt x="222" y="336"/>
                    <a:pt x="221" y="336"/>
                  </a:cubicBezTo>
                  <a:lnTo>
                    <a:pt x="207" y="339"/>
                  </a:lnTo>
                  <a:cubicBezTo>
                    <a:pt x="201" y="341"/>
                    <a:pt x="196" y="346"/>
                    <a:pt x="196" y="352"/>
                  </a:cubicBezTo>
                  <a:lnTo>
                    <a:pt x="196" y="368"/>
                  </a:lnTo>
                  <a:cubicBezTo>
                    <a:pt x="196" y="369"/>
                    <a:pt x="196" y="370"/>
                    <a:pt x="196" y="371"/>
                  </a:cubicBezTo>
                  <a:lnTo>
                    <a:pt x="198" y="378"/>
                  </a:lnTo>
                  <a:lnTo>
                    <a:pt x="197" y="382"/>
                  </a:lnTo>
                  <a:lnTo>
                    <a:pt x="185" y="396"/>
                  </a:lnTo>
                  <a:lnTo>
                    <a:pt x="166" y="414"/>
                  </a:lnTo>
                  <a:lnTo>
                    <a:pt x="150" y="430"/>
                  </a:lnTo>
                  <a:cubicBezTo>
                    <a:pt x="149" y="431"/>
                    <a:pt x="149" y="431"/>
                    <a:pt x="149" y="432"/>
                  </a:cubicBezTo>
                  <a:lnTo>
                    <a:pt x="135" y="452"/>
                  </a:lnTo>
                  <a:cubicBezTo>
                    <a:pt x="134" y="453"/>
                    <a:pt x="133" y="455"/>
                    <a:pt x="132" y="456"/>
                  </a:cubicBezTo>
                  <a:lnTo>
                    <a:pt x="128" y="474"/>
                  </a:lnTo>
                  <a:lnTo>
                    <a:pt x="125" y="494"/>
                  </a:lnTo>
                  <a:lnTo>
                    <a:pt x="122" y="512"/>
                  </a:lnTo>
                  <a:lnTo>
                    <a:pt x="118" y="524"/>
                  </a:lnTo>
                  <a:lnTo>
                    <a:pt x="116" y="527"/>
                  </a:lnTo>
                  <a:lnTo>
                    <a:pt x="115" y="528"/>
                  </a:lnTo>
                  <a:lnTo>
                    <a:pt x="109" y="530"/>
                  </a:lnTo>
                  <a:cubicBezTo>
                    <a:pt x="108" y="530"/>
                    <a:pt x="107" y="530"/>
                    <a:pt x="106" y="531"/>
                  </a:cubicBezTo>
                  <a:lnTo>
                    <a:pt x="94" y="537"/>
                  </a:lnTo>
                  <a:lnTo>
                    <a:pt x="15" y="590"/>
                  </a:lnTo>
                  <a:lnTo>
                    <a:pt x="0" y="568"/>
                  </a:lnTo>
                  <a:close/>
                  <a:moveTo>
                    <a:pt x="30" y="613"/>
                  </a:moveTo>
                  <a:lnTo>
                    <a:pt x="109" y="560"/>
                  </a:lnTo>
                  <a:lnTo>
                    <a:pt x="117" y="555"/>
                  </a:lnTo>
                  <a:lnTo>
                    <a:pt x="124" y="553"/>
                  </a:lnTo>
                  <a:cubicBezTo>
                    <a:pt x="125" y="553"/>
                    <a:pt x="126" y="553"/>
                    <a:pt x="127" y="552"/>
                  </a:cubicBezTo>
                  <a:lnTo>
                    <a:pt x="132" y="549"/>
                  </a:lnTo>
                  <a:cubicBezTo>
                    <a:pt x="134" y="548"/>
                    <a:pt x="135" y="547"/>
                    <a:pt x="136" y="545"/>
                  </a:cubicBezTo>
                  <a:lnTo>
                    <a:pt x="141" y="538"/>
                  </a:lnTo>
                  <a:cubicBezTo>
                    <a:pt x="142" y="537"/>
                    <a:pt x="143" y="536"/>
                    <a:pt x="143" y="535"/>
                  </a:cubicBezTo>
                  <a:lnTo>
                    <a:pt x="148" y="520"/>
                  </a:lnTo>
                  <a:cubicBezTo>
                    <a:pt x="148" y="519"/>
                    <a:pt x="149" y="518"/>
                    <a:pt x="149" y="518"/>
                  </a:cubicBezTo>
                  <a:lnTo>
                    <a:pt x="152" y="499"/>
                  </a:lnTo>
                  <a:lnTo>
                    <a:pt x="155" y="478"/>
                  </a:lnTo>
                  <a:lnTo>
                    <a:pt x="158" y="465"/>
                  </a:lnTo>
                  <a:lnTo>
                    <a:pt x="170" y="448"/>
                  </a:lnTo>
                  <a:lnTo>
                    <a:pt x="185" y="433"/>
                  </a:lnTo>
                  <a:lnTo>
                    <a:pt x="204" y="415"/>
                  </a:lnTo>
                  <a:lnTo>
                    <a:pt x="220" y="396"/>
                  </a:lnTo>
                  <a:cubicBezTo>
                    <a:pt x="221" y="394"/>
                    <a:pt x="222" y="392"/>
                    <a:pt x="223" y="390"/>
                  </a:cubicBezTo>
                  <a:lnTo>
                    <a:pt x="225" y="380"/>
                  </a:lnTo>
                  <a:cubicBezTo>
                    <a:pt x="225" y="378"/>
                    <a:pt x="225" y="376"/>
                    <a:pt x="224" y="375"/>
                  </a:cubicBezTo>
                  <a:lnTo>
                    <a:pt x="223" y="367"/>
                  </a:lnTo>
                  <a:lnTo>
                    <a:pt x="223" y="363"/>
                  </a:lnTo>
                  <a:lnTo>
                    <a:pt x="225" y="363"/>
                  </a:lnTo>
                  <a:lnTo>
                    <a:pt x="232" y="363"/>
                  </a:lnTo>
                  <a:cubicBezTo>
                    <a:pt x="234" y="363"/>
                    <a:pt x="236" y="362"/>
                    <a:pt x="238" y="362"/>
                  </a:cubicBezTo>
                  <a:lnTo>
                    <a:pt x="245" y="359"/>
                  </a:lnTo>
                  <a:cubicBezTo>
                    <a:pt x="249" y="357"/>
                    <a:pt x="251" y="354"/>
                    <a:pt x="252" y="350"/>
                  </a:cubicBezTo>
                  <a:lnTo>
                    <a:pt x="257" y="330"/>
                  </a:lnTo>
                  <a:lnTo>
                    <a:pt x="261" y="310"/>
                  </a:lnTo>
                  <a:lnTo>
                    <a:pt x="269" y="300"/>
                  </a:lnTo>
                  <a:lnTo>
                    <a:pt x="278" y="289"/>
                  </a:lnTo>
                  <a:cubicBezTo>
                    <a:pt x="279" y="289"/>
                    <a:pt x="279" y="288"/>
                    <a:pt x="280" y="288"/>
                  </a:cubicBezTo>
                  <a:lnTo>
                    <a:pt x="295" y="265"/>
                  </a:lnTo>
                  <a:cubicBezTo>
                    <a:pt x="296" y="262"/>
                    <a:pt x="297" y="259"/>
                    <a:pt x="297" y="256"/>
                  </a:cubicBezTo>
                  <a:lnTo>
                    <a:pt x="296" y="247"/>
                  </a:lnTo>
                  <a:cubicBezTo>
                    <a:pt x="296" y="246"/>
                    <a:pt x="295" y="245"/>
                    <a:pt x="295" y="245"/>
                  </a:cubicBezTo>
                  <a:lnTo>
                    <a:pt x="292" y="235"/>
                  </a:lnTo>
                  <a:lnTo>
                    <a:pt x="292" y="233"/>
                  </a:lnTo>
                  <a:lnTo>
                    <a:pt x="292" y="233"/>
                  </a:lnTo>
                  <a:lnTo>
                    <a:pt x="303" y="229"/>
                  </a:lnTo>
                  <a:lnTo>
                    <a:pt x="324" y="226"/>
                  </a:lnTo>
                  <a:lnTo>
                    <a:pt x="347" y="224"/>
                  </a:lnTo>
                  <a:lnTo>
                    <a:pt x="365" y="223"/>
                  </a:lnTo>
                  <a:lnTo>
                    <a:pt x="393" y="229"/>
                  </a:lnTo>
                  <a:lnTo>
                    <a:pt x="404" y="233"/>
                  </a:lnTo>
                  <a:cubicBezTo>
                    <a:pt x="405" y="233"/>
                    <a:pt x="406" y="234"/>
                    <a:pt x="407" y="234"/>
                  </a:cubicBezTo>
                  <a:lnTo>
                    <a:pt x="419" y="235"/>
                  </a:lnTo>
                  <a:cubicBezTo>
                    <a:pt x="422" y="235"/>
                    <a:pt x="424" y="235"/>
                    <a:pt x="426" y="234"/>
                  </a:cubicBezTo>
                  <a:lnTo>
                    <a:pt x="437" y="229"/>
                  </a:lnTo>
                  <a:cubicBezTo>
                    <a:pt x="438" y="228"/>
                    <a:pt x="440" y="227"/>
                    <a:pt x="441" y="226"/>
                  </a:cubicBezTo>
                  <a:lnTo>
                    <a:pt x="450" y="217"/>
                  </a:lnTo>
                  <a:lnTo>
                    <a:pt x="458" y="208"/>
                  </a:lnTo>
                  <a:lnTo>
                    <a:pt x="464" y="205"/>
                  </a:lnTo>
                  <a:lnTo>
                    <a:pt x="472" y="204"/>
                  </a:lnTo>
                  <a:lnTo>
                    <a:pt x="486" y="206"/>
                  </a:lnTo>
                  <a:lnTo>
                    <a:pt x="501" y="207"/>
                  </a:lnTo>
                  <a:cubicBezTo>
                    <a:pt x="502" y="207"/>
                    <a:pt x="503" y="207"/>
                    <a:pt x="504" y="207"/>
                  </a:cubicBezTo>
                  <a:lnTo>
                    <a:pt x="516" y="205"/>
                  </a:lnTo>
                  <a:cubicBezTo>
                    <a:pt x="518" y="204"/>
                    <a:pt x="520" y="203"/>
                    <a:pt x="522" y="201"/>
                  </a:cubicBezTo>
                  <a:lnTo>
                    <a:pt x="531" y="193"/>
                  </a:lnTo>
                  <a:cubicBezTo>
                    <a:pt x="533" y="192"/>
                    <a:pt x="534" y="191"/>
                    <a:pt x="534" y="189"/>
                  </a:cubicBezTo>
                  <a:lnTo>
                    <a:pt x="540" y="177"/>
                  </a:lnTo>
                  <a:lnTo>
                    <a:pt x="549" y="159"/>
                  </a:lnTo>
                  <a:lnTo>
                    <a:pt x="566" y="147"/>
                  </a:lnTo>
                  <a:lnTo>
                    <a:pt x="571" y="149"/>
                  </a:lnTo>
                  <a:cubicBezTo>
                    <a:pt x="572" y="149"/>
                    <a:pt x="573" y="150"/>
                    <a:pt x="573" y="150"/>
                  </a:cubicBezTo>
                  <a:lnTo>
                    <a:pt x="585" y="152"/>
                  </a:lnTo>
                  <a:cubicBezTo>
                    <a:pt x="591" y="153"/>
                    <a:pt x="596" y="150"/>
                    <a:pt x="599" y="145"/>
                  </a:cubicBezTo>
                  <a:lnTo>
                    <a:pt x="607" y="131"/>
                  </a:lnTo>
                  <a:lnTo>
                    <a:pt x="615" y="120"/>
                  </a:lnTo>
                  <a:lnTo>
                    <a:pt x="632" y="116"/>
                  </a:lnTo>
                  <a:lnTo>
                    <a:pt x="654" y="116"/>
                  </a:lnTo>
                  <a:lnTo>
                    <a:pt x="673" y="123"/>
                  </a:lnTo>
                  <a:lnTo>
                    <a:pt x="683" y="127"/>
                  </a:lnTo>
                  <a:cubicBezTo>
                    <a:pt x="684" y="127"/>
                    <a:pt x="686" y="128"/>
                    <a:pt x="687" y="128"/>
                  </a:cubicBezTo>
                  <a:lnTo>
                    <a:pt x="695" y="128"/>
                  </a:lnTo>
                  <a:cubicBezTo>
                    <a:pt x="700" y="128"/>
                    <a:pt x="704" y="126"/>
                    <a:pt x="706" y="122"/>
                  </a:cubicBezTo>
                  <a:lnTo>
                    <a:pt x="712" y="114"/>
                  </a:lnTo>
                  <a:cubicBezTo>
                    <a:pt x="713" y="113"/>
                    <a:pt x="714" y="112"/>
                    <a:pt x="714" y="111"/>
                  </a:cubicBezTo>
                  <a:lnTo>
                    <a:pt x="718" y="99"/>
                  </a:lnTo>
                  <a:lnTo>
                    <a:pt x="722" y="87"/>
                  </a:lnTo>
                  <a:lnTo>
                    <a:pt x="724" y="84"/>
                  </a:lnTo>
                  <a:lnTo>
                    <a:pt x="724" y="84"/>
                  </a:lnTo>
                  <a:lnTo>
                    <a:pt x="731" y="85"/>
                  </a:lnTo>
                  <a:lnTo>
                    <a:pt x="740" y="87"/>
                  </a:lnTo>
                  <a:cubicBezTo>
                    <a:pt x="741" y="87"/>
                    <a:pt x="743" y="87"/>
                    <a:pt x="744" y="87"/>
                  </a:cubicBezTo>
                  <a:lnTo>
                    <a:pt x="751" y="86"/>
                  </a:lnTo>
                  <a:cubicBezTo>
                    <a:pt x="755" y="85"/>
                    <a:pt x="759" y="83"/>
                    <a:pt x="761" y="79"/>
                  </a:cubicBezTo>
                  <a:lnTo>
                    <a:pt x="765" y="72"/>
                  </a:lnTo>
                  <a:cubicBezTo>
                    <a:pt x="765" y="71"/>
                    <a:pt x="766" y="71"/>
                    <a:pt x="766" y="70"/>
                  </a:cubicBezTo>
                  <a:lnTo>
                    <a:pt x="769" y="61"/>
                  </a:lnTo>
                  <a:lnTo>
                    <a:pt x="771" y="54"/>
                  </a:lnTo>
                  <a:lnTo>
                    <a:pt x="767" y="57"/>
                  </a:lnTo>
                  <a:lnTo>
                    <a:pt x="767" y="57"/>
                  </a:lnTo>
                  <a:lnTo>
                    <a:pt x="777" y="64"/>
                  </a:lnTo>
                  <a:lnTo>
                    <a:pt x="789" y="73"/>
                  </a:lnTo>
                  <a:cubicBezTo>
                    <a:pt x="790" y="73"/>
                    <a:pt x="791" y="73"/>
                    <a:pt x="791" y="74"/>
                  </a:cubicBezTo>
                  <a:lnTo>
                    <a:pt x="803" y="79"/>
                  </a:lnTo>
                  <a:cubicBezTo>
                    <a:pt x="805" y="80"/>
                    <a:pt x="807" y="80"/>
                    <a:pt x="809" y="80"/>
                  </a:cubicBezTo>
                  <a:lnTo>
                    <a:pt x="836" y="79"/>
                  </a:lnTo>
                  <a:cubicBezTo>
                    <a:pt x="837" y="79"/>
                    <a:pt x="837" y="79"/>
                    <a:pt x="838" y="79"/>
                  </a:cubicBezTo>
                  <a:lnTo>
                    <a:pt x="864" y="74"/>
                  </a:lnTo>
                  <a:lnTo>
                    <a:pt x="893" y="74"/>
                  </a:lnTo>
                  <a:lnTo>
                    <a:pt x="906" y="74"/>
                  </a:lnTo>
                  <a:lnTo>
                    <a:pt x="911" y="74"/>
                  </a:lnTo>
                  <a:lnTo>
                    <a:pt x="950" y="74"/>
                  </a:lnTo>
                  <a:lnTo>
                    <a:pt x="950" y="100"/>
                  </a:lnTo>
                  <a:lnTo>
                    <a:pt x="911" y="100"/>
                  </a:lnTo>
                  <a:lnTo>
                    <a:pt x="906" y="100"/>
                  </a:lnTo>
                  <a:lnTo>
                    <a:pt x="893" y="100"/>
                  </a:lnTo>
                  <a:lnTo>
                    <a:pt x="866" y="100"/>
                  </a:lnTo>
                  <a:lnTo>
                    <a:pt x="843" y="105"/>
                  </a:lnTo>
                  <a:cubicBezTo>
                    <a:pt x="841" y="105"/>
                    <a:pt x="839" y="105"/>
                    <a:pt x="837" y="105"/>
                  </a:cubicBezTo>
                  <a:lnTo>
                    <a:pt x="810" y="106"/>
                  </a:lnTo>
                  <a:cubicBezTo>
                    <a:pt x="804" y="107"/>
                    <a:pt x="798" y="106"/>
                    <a:pt x="793" y="103"/>
                  </a:cubicBezTo>
                  <a:lnTo>
                    <a:pt x="781" y="98"/>
                  </a:lnTo>
                  <a:cubicBezTo>
                    <a:pt x="779" y="97"/>
                    <a:pt x="776" y="96"/>
                    <a:pt x="774" y="95"/>
                  </a:cubicBezTo>
                  <a:lnTo>
                    <a:pt x="761" y="86"/>
                  </a:lnTo>
                  <a:lnTo>
                    <a:pt x="755" y="81"/>
                  </a:lnTo>
                  <a:lnTo>
                    <a:pt x="772" y="87"/>
                  </a:lnTo>
                  <a:lnTo>
                    <a:pt x="794" y="70"/>
                  </a:lnTo>
                  <a:lnTo>
                    <a:pt x="794" y="69"/>
                  </a:lnTo>
                  <a:lnTo>
                    <a:pt x="791" y="78"/>
                  </a:lnTo>
                  <a:cubicBezTo>
                    <a:pt x="791" y="81"/>
                    <a:pt x="790" y="83"/>
                    <a:pt x="788" y="85"/>
                  </a:cubicBezTo>
                  <a:lnTo>
                    <a:pt x="784" y="92"/>
                  </a:lnTo>
                  <a:cubicBezTo>
                    <a:pt x="778" y="103"/>
                    <a:pt x="767" y="110"/>
                    <a:pt x="755" y="112"/>
                  </a:cubicBezTo>
                  <a:lnTo>
                    <a:pt x="748" y="113"/>
                  </a:lnTo>
                  <a:cubicBezTo>
                    <a:pt x="744" y="114"/>
                    <a:pt x="739" y="114"/>
                    <a:pt x="735" y="113"/>
                  </a:cubicBezTo>
                  <a:lnTo>
                    <a:pt x="728" y="111"/>
                  </a:lnTo>
                  <a:lnTo>
                    <a:pt x="726" y="111"/>
                  </a:lnTo>
                  <a:lnTo>
                    <a:pt x="740" y="108"/>
                  </a:lnTo>
                  <a:lnTo>
                    <a:pt x="746" y="99"/>
                  </a:lnTo>
                  <a:lnTo>
                    <a:pt x="743" y="107"/>
                  </a:lnTo>
                  <a:lnTo>
                    <a:pt x="739" y="119"/>
                  </a:lnTo>
                  <a:cubicBezTo>
                    <a:pt x="738" y="123"/>
                    <a:pt x="736" y="127"/>
                    <a:pt x="733" y="130"/>
                  </a:cubicBezTo>
                  <a:lnTo>
                    <a:pt x="727" y="138"/>
                  </a:lnTo>
                  <a:cubicBezTo>
                    <a:pt x="720" y="149"/>
                    <a:pt x="708" y="154"/>
                    <a:pt x="695" y="154"/>
                  </a:cubicBezTo>
                  <a:lnTo>
                    <a:pt x="687" y="154"/>
                  </a:lnTo>
                  <a:cubicBezTo>
                    <a:pt x="682" y="154"/>
                    <a:pt x="677" y="153"/>
                    <a:pt x="673" y="152"/>
                  </a:cubicBezTo>
                  <a:lnTo>
                    <a:pt x="663" y="148"/>
                  </a:lnTo>
                  <a:lnTo>
                    <a:pt x="649" y="142"/>
                  </a:lnTo>
                  <a:lnTo>
                    <a:pt x="636" y="142"/>
                  </a:lnTo>
                  <a:lnTo>
                    <a:pt x="631" y="144"/>
                  </a:lnTo>
                  <a:lnTo>
                    <a:pt x="630" y="144"/>
                  </a:lnTo>
                  <a:lnTo>
                    <a:pt x="622" y="158"/>
                  </a:lnTo>
                  <a:cubicBezTo>
                    <a:pt x="614" y="173"/>
                    <a:pt x="597" y="181"/>
                    <a:pt x="581" y="178"/>
                  </a:cubicBezTo>
                  <a:lnTo>
                    <a:pt x="569" y="176"/>
                  </a:lnTo>
                  <a:cubicBezTo>
                    <a:pt x="567" y="176"/>
                    <a:pt x="565" y="175"/>
                    <a:pt x="563" y="174"/>
                  </a:cubicBezTo>
                  <a:lnTo>
                    <a:pt x="570" y="177"/>
                  </a:lnTo>
                  <a:lnTo>
                    <a:pt x="570" y="177"/>
                  </a:lnTo>
                  <a:lnTo>
                    <a:pt x="564" y="189"/>
                  </a:lnTo>
                  <a:lnTo>
                    <a:pt x="558" y="201"/>
                  </a:lnTo>
                  <a:cubicBezTo>
                    <a:pt x="556" y="206"/>
                    <a:pt x="553" y="210"/>
                    <a:pt x="549" y="213"/>
                  </a:cubicBezTo>
                  <a:lnTo>
                    <a:pt x="540" y="221"/>
                  </a:lnTo>
                  <a:cubicBezTo>
                    <a:pt x="534" y="226"/>
                    <a:pt x="527" y="230"/>
                    <a:pt x="520" y="231"/>
                  </a:cubicBezTo>
                  <a:lnTo>
                    <a:pt x="508" y="233"/>
                  </a:lnTo>
                  <a:cubicBezTo>
                    <a:pt x="505" y="233"/>
                    <a:pt x="502" y="234"/>
                    <a:pt x="499" y="233"/>
                  </a:cubicBezTo>
                  <a:lnTo>
                    <a:pt x="482" y="232"/>
                  </a:lnTo>
                  <a:lnTo>
                    <a:pt x="471" y="231"/>
                  </a:lnTo>
                  <a:lnTo>
                    <a:pt x="472" y="231"/>
                  </a:lnTo>
                  <a:lnTo>
                    <a:pt x="475" y="229"/>
                  </a:lnTo>
                  <a:lnTo>
                    <a:pt x="469" y="236"/>
                  </a:lnTo>
                  <a:lnTo>
                    <a:pt x="460" y="245"/>
                  </a:lnTo>
                  <a:cubicBezTo>
                    <a:pt x="456" y="248"/>
                    <a:pt x="452" y="251"/>
                    <a:pt x="448" y="253"/>
                  </a:cubicBezTo>
                  <a:lnTo>
                    <a:pt x="437" y="258"/>
                  </a:lnTo>
                  <a:cubicBezTo>
                    <a:pt x="431" y="261"/>
                    <a:pt x="424" y="262"/>
                    <a:pt x="417" y="261"/>
                  </a:cubicBezTo>
                  <a:lnTo>
                    <a:pt x="405" y="260"/>
                  </a:lnTo>
                  <a:cubicBezTo>
                    <a:pt x="402" y="260"/>
                    <a:pt x="399" y="259"/>
                    <a:pt x="396" y="258"/>
                  </a:cubicBezTo>
                  <a:lnTo>
                    <a:pt x="387" y="255"/>
                  </a:lnTo>
                  <a:lnTo>
                    <a:pt x="363" y="250"/>
                  </a:lnTo>
                  <a:lnTo>
                    <a:pt x="349" y="250"/>
                  </a:lnTo>
                  <a:lnTo>
                    <a:pt x="329" y="252"/>
                  </a:lnTo>
                  <a:lnTo>
                    <a:pt x="311" y="255"/>
                  </a:lnTo>
                  <a:lnTo>
                    <a:pt x="308" y="256"/>
                  </a:lnTo>
                  <a:lnTo>
                    <a:pt x="321" y="239"/>
                  </a:lnTo>
                  <a:lnTo>
                    <a:pt x="318" y="227"/>
                  </a:lnTo>
                  <a:lnTo>
                    <a:pt x="321" y="237"/>
                  </a:lnTo>
                  <a:cubicBezTo>
                    <a:pt x="321" y="239"/>
                    <a:pt x="322" y="242"/>
                    <a:pt x="322" y="244"/>
                  </a:cubicBezTo>
                  <a:lnTo>
                    <a:pt x="323" y="253"/>
                  </a:lnTo>
                  <a:cubicBezTo>
                    <a:pt x="324" y="262"/>
                    <a:pt x="322" y="272"/>
                    <a:pt x="317" y="279"/>
                  </a:cubicBezTo>
                  <a:lnTo>
                    <a:pt x="302" y="302"/>
                  </a:lnTo>
                  <a:cubicBezTo>
                    <a:pt x="301" y="304"/>
                    <a:pt x="299" y="306"/>
                    <a:pt x="298" y="307"/>
                  </a:cubicBezTo>
                  <a:lnTo>
                    <a:pt x="290" y="316"/>
                  </a:lnTo>
                  <a:lnTo>
                    <a:pt x="286" y="321"/>
                  </a:lnTo>
                  <a:lnTo>
                    <a:pt x="283" y="336"/>
                  </a:lnTo>
                  <a:lnTo>
                    <a:pt x="278" y="356"/>
                  </a:lnTo>
                  <a:cubicBezTo>
                    <a:pt x="275" y="368"/>
                    <a:pt x="267" y="378"/>
                    <a:pt x="255" y="383"/>
                  </a:cubicBezTo>
                  <a:lnTo>
                    <a:pt x="248" y="386"/>
                  </a:lnTo>
                  <a:cubicBezTo>
                    <a:pt x="243" y="388"/>
                    <a:pt x="238" y="389"/>
                    <a:pt x="232" y="389"/>
                  </a:cubicBezTo>
                  <a:lnTo>
                    <a:pt x="228" y="389"/>
                  </a:lnTo>
                  <a:lnTo>
                    <a:pt x="249" y="385"/>
                  </a:lnTo>
                  <a:lnTo>
                    <a:pt x="249" y="364"/>
                  </a:lnTo>
                  <a:lnTo>
                    <a:pt x="251" y="369"/>
                  </a:lnTo>
                  <a:cubicBezTo>
                    <a:pt x="252" y="374"/>
                    <a:pt x="252" y="380"/>
                    <a:pt x="251" y="385"/>
                  </a:cubicBezTo>
                  <a:lnTo>
                    <a:pt x="249" y="395"/>
                  </a:lnTo>
                  <a:cubicBezTo>
                    <a:pt x="247" y="402"/>
                    <a:pt x="244" y="408"/>
                    <a:pt x="240" y="413"/>
                  </a:cubicBezTo>
                  <a:lnTo>
                    <a:pt x="222" y="435"/>
                  </a:lnTo>
                  <a:lnTo>
                    <a:pt x="204" y="452"/>
                  </a:lnTo>
                  <a:lnTo>
                    <a:pt x="190" y="465"/>
                  </a:lnTo>
                  <a:lnTo>
                    <a:pt x="183" y="476"/>
                  </a:lnTo>
                  <a:lnTo>
                    <a:pt x="181" y="482"/>
                  </a:lnTo>
                  <a:lnTo>
                    <a:pt x="178" y="503"/>
                  </a:lnTo>
                  <a:lnTo>
                    <a:pt x="175" y="522"/>
                  </a:lnTo>
                  <a:cubicBezTo>
                    <a:pt x="175" y="524"/>
                    <a:pt x="174" y="526"/>
                    <a:pt x="173" y="528"/>
                  </a:cubicBezTo>
                  <a:lnTo>
                    <a:pt x="168" y="543"/>
                  </a:lnTo>
                  <a:cubicBezTo>
                    <a:pt x="167" y="547"/>
                    <a:pt x="165" y="550"/>
                    <a:pt x="163" y="554"/>
                  </a:cubicBezTo>
                  <a:lnTo>
                    <a:pt x="158" y="561"/>
                  </a:lnTo>
                  <a:cubicBezTo>
                    <a:pt x="155" y="565"/>
                    <a:pt x="151" y="569"/>
                    <a:pt x="146" y="572"/>
                  </a:cubicBezTo>
                  <a:lnTo>
                    <a:pt x="141" y="575"/>
                  </a:lnTo>
                  <a:cubicBezTo>
                    <a:pt x="138" y="577"/>
                    <a:pt x="134" y="578"/>
                    <a:pt x="130" y="579"/>
                  </a:cubicBezTo>
                  <a:lnTo>
                    <a:pt x="127" y="580"/>
                  </a:lnTo>
                  <a:lnTo>
                    <a:pt x="124" y="582"/>
                  </a:lnTo>
                  <a:lnTo>
                    <a:pt x="45" y="635"/>
                  </a:lnTo>
                  <a:lnTo>
                    <a:pt x="30" y="613"/>
                  </a:lnTo>
                  <a:close/>
                </a:path>
              </a:pathLst>
            </a:custGeom>
            <a:solidFill>
              <a:srgbClr val="C00000"/>
            </a:solidFill>
            <a:ln w="0" cap="flat">
              <a:solidFill>
                <a:srgbClr val="C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" name="Freeform 20"/>
            <p:cNvSpPr>
              <a:spLocks/>
            </p:cNvSpPr>
            <p:nvPr/>
          </p:nvSpPr>
          <p:spPr bwMode="auto">
            <a:xfrm>
              <a:off x="2355130" y="4365513"/>
              <a:ext cx="117089" cy="114231"/>
            </a:xfrm>
            <a:custGeom>
              <a:avLst/>
              <a:gdLst/>
              <a:ahLst/>
              <a:cxnLst>
                <a:cxn ang="0">
                  <a:pos x="0" y="104"/>
                </a:cxn>
                <a:cxn ang="0">
                  <a:pos x="112" y="0"/>
                </a:cxn>
                <a:cxn ang="0">
                  <a:pos x="112" y="0"/>
                </a:cxn>
                <a:cxn ang="0">
                  <a:pos x="112" y="0"/>
                </a:cxn>
                <a:cxn ang="0">
                  <a:pos x="224" y="104"/>
                </a:cxn>
                <a:cxn ang="0">
                  <a:pos x="224" y="104"/>
                </a:cxn>
                <a:cxn ang="0">
                  <a:pos x="224" y="104"/>
                </a:cxn>
                <a:cxn ang="0">
                  <a:pos x="112" y="208"/>
                </a:cxn>
                <a:cxn ang="0">
                  <a:pos x="112" y="208"/>
                </a:cxn>
                <a:cxn ang="0">
                  <a:pos x="112" y="208"/>
                </a:cxn>
                <a:cxn ang="0">
                  <a:pos x="0" y="104"/>
                </a:cxn>
                <a:cxn ang="0">
                  <a:pos x="0" y="104"/>
                </a:cxn>
              </a:cxnLst>
              <a:rect l="0" t="0" r="r" b="b"/>
              <a:pathLst>
                <a:path w="224" h="208">
                  <a:moveTo>
                    <a:pt x="0" y="104"/>
                  </a:moveTo>
                  <a:cubicBezTo>
                    <a:pt x="0" y="47"/>
                    <a:pt x="51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lnTo>
                    <a:pt x="112" y="0"/>
                  </a:lnTo>
                  <a:cubicBezTo>
                    <a:pt x="174" y="0"/>
                    <a:pt x="224" y="47"/>
                    <a:pt x="224" y="104"/>
                  </a:cubicBezTo>
                  <a:cubicBezTo>
                    <a:pt x="224" y="104"/>
                    <a:pt x="224" y="104"/>
                    <a:pt x="224" y="104"/>
                  </a:cubicBezTo>
                  <a:lnTo>
                    <a:pt x="224" y="104"/>
                  </a:lnTo>
                  <a:cubicBezTo>
                    <a:pt x="224" y="162"/>
                    <a:pt x="174" y="208"/>
                    <a:pt x="112" y="208"/>
                  </a:cubicBezTo>
                  <a:cubicBezTo>
                    <a:pt x="112" y="208"/>
                    <a:pt x="112" y="208"/>
                    <a:pt x="112" y="208"/>
                  </a:cubicBezTo>
                  <a:lnTo>
                    <a:pt x="112" y="208"/>
                  </a:lnTo>
                  <a:cubicBezTo>
                    <a:pt x="51" y="208"/>
                    <a:pt x="0" y="162"/>
                    <a:pt x="0" y="104"/>
                  </a:cubicBezTo>
                  <a:cubicBezTo>
                    <a:pt x="0" y="104"/>
                    <a:pt x="0" y="104"/>
                    <a:pt x="0" y="104"/>
                  </a:cubicBezTo>
                  <a:close/>
                </a:path>
              </a:pathLst>
            </a:custGeom>
            <a:solidFill>
              <a:srgbClr val="116FA1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Freeform 21"/>
            <p:cNvSpPr>
              <a:spLocks noEditPoints="1"/>
            </p:cNvSpPr>
            <p:nvPr/>
          </p:nvSpPr>
          <p:spPr bwMode="auto">
            <a:xfrm>
              <a:off x="2342471" y="4351806"/>
              <a:ext cx="142405" cy="141646"/>
            </a:xfrm>
            <a:custGeom>
              <a:avLst/>
              <a:gdLst/>
              <a:ahLst/>
              <a:cxnLst>
                <a:cxn ang="0">
                  <a:pos x="1" y="123"/>
                </a:cxn>
                <a:cxn ang="0">
                  <a:pos x="14" y="74"/>
                </a:cxn>
                <a:cxn ang="0">
                  <a:pos x="45" y="35"/>
                </a:cxn>
                <a:cxn ang="0">
                  <a:pos x="89" y="9"/>
                </a:cxn>
                <a:cxn ang="0">
                  <a:pos x="141" y="1"/>
                </a:cxn>
                <a:cxn ang="0">
                  <a:pos x="194" y="12"/>
                </a:cxn>
                <a:cxn ang="0">
                  <a:pos x="235" y="41"/>
                </a:cxn>
                <a:cxn ang="0">
                  <a:pos x="263" y="83"/>
                </a:cxn>
                <a:cxn ang="0">
                  <a:pos x="272" y="134"/>
                </a:cxn>
                <a:cxn ang="0">
                  <a:pos x="259" y="184"/>
                </a:cxn>
                <a:cxn ang="0">
                  <a:pos x="228" y="223"/>
                </a:cxn>
                <a:cxn ang="0">
                  <a:pos x="185" y="248"/>
                </a:cxn>
                <a:cxn ang="0">
                  <a:pos x="132" y="256"/>
                </a:cxn>
                <a:cxn ang="0">
                  <a:pos x="81" y="245"/>
                </a:cxn>
                <a:cxn ang="0">
                  <a:pos x="38" y="217"/>
                </a:cxn>
                <a:cxn ang="0">
                  <a:pos x="10" y="175"/>
                </a:cxn>
                <a:cxn ang="0">
                  <a:pos x="57" y="164"/>
                </a:cxn>
                <a:cxn ang="0">
                  <a:pos x="77" y="188"/>
                </a:cxn>
                <a:cxn ang="0">
                  <a:pos x="106" y="204"/>
                </a:cxn>
                <a:cxn ang="0">
                  <a:pos x="141" y="209"/>
                </a:cxn>
                <a:cxn ang="0">
                  <a:pos x="176" y="201"/>
                </a:cxn>
                <a:cxn ang="0">
                  <a:pos x="203" y="182"/>
                </a:cxn>
                <a:cxn ang="0">
                  <a:pos x="220" y="155"/>
                </a:cxn>
                <a:cxn ang="0">
                  <a:pos x="225" y="123"/>
                </a:cxn>
                <a:cxn ang="0">
                  <a:pos x="216" y="94"/>
                </a:cxn>
                <a:cxn ang="0">
                  <a:pos x="196" y="70"/>
                </a:cxn>
                <a:cxn ang="0">
                  <a:pos x="167" y="53"/>
                </a:cxn>
                <a:cxn ang="0">
                  <a:pos x="132" y="48"/>
                </a:cxn>
                <a:cxn ang="0">
                  <a:pos x="98" y="56"/>
                </a:cxn>
                <a:cxn ang="0">
                  <a:pos x="70" y="76"/>
                </a:cxn>
                <a:cxn ang="0">
                  <a:pos x="53" y="103"/>
                </a:cxn>
                <a:cxn ang="0">
                  <a:pos x="48" y="134"/>
                </a:cxn>
                <a:cxn ang="0">
                  <a:pos x="57" y="164"/>
                </a:cxn>
              </a:cxnLst>
              <a:rect l="0" t="0" r="r" b="b"/>
              <a:pathLst>
                <a:path w="273" h="257">
                  <a:moveTo>
                    <a:pt x="1" y="134"/>
                  </a:moveTo>
                  <a:cubicBezTo>
                    <a:pt x="0" y="130"/>
                    <a:pt x="0" y="127"/>
                    <a:pt x="1" y="123"/>
                  </a:cubicBezTo>
                  <a:lnTo>
                    <a:pt x="10" y="83"/>
                  </a:lnTo>
                  <a:cubicBezTo>
                    <a:pt x="11" y="80"/>
                    <a:pt x="12" y="77"/>
                    <a:pt x="14" y="74"/>
                  </a:cubicBezTo>
                  <a:lnTo>
                    <a:pt x="38" y="41"/>
                  </a:lnTo>
                  <a:cubicBezTo>
                    <a:pt x="40" y="39"/>
                    <a:pt x="42" y="37"/>
                    <a:pt x="45" y="35"/>
                  </a:cubicBezTo>
                  <a:lnTo>
                    <a:pt x="81" y="12"/>
                  </a:lnTo>
                  <a:cubicBezTo>
                    <a:pt x="83" y="11"/>
                    <a:pt x="86" y="9"/>
                    <a:pt x="89" y="9"/>
                  </a:cubicBezTo>
                  <a:lnTo>
                    <a:pt x="132" y="1"/>
                  </a:lnTo>
                  <a:cubicBezTo>
                    <a:pt x="135" y="0"/>
                    <a:pt x="138" y="0"/>
                    <a:pt x="141" y="1"/>
                  </a:cubicBezTo>
                  <a:lnTo>
                    <a:pt x="185" y="9"/>
                  </a:lnTo>
                  <a:cubicBezTo>
                    <a:pt x="188" y="9"/>
                    <a:pt x="191" y="11"/>
                    <a:pt x="194" y="12"/>
                  </a:cubicBezTo>
                  <a:lnTo>
                    <a:pt x="229" y="35"/>
                  </a:lnTo>
                  <a:cubicBezTo>
                    <a:pt x="231" y="37"/>
                    <a:pt x="233" y="39"/>
                    <a:pt x="235" y="41"/>
                  </a:cubicBezTo>
                  <a:lnTo>
                    <a:pt x="259" y="74"/>
                  </a:lnTo>
                  <a:cubicBezTo>
                    <a:pt x="261" y="77"/>
                    <a:pt x="262" y="80"/>
                    <a:pt x="263" y="83"/>
                  </a:cubicBezTo>
                  <a:lnTo>
                    <a:pt x="272" y="123"/>
                  </a:lnTo>
                  <a:cubicBezTo>
                    <a:pt x="273" y="127"/>
                    <a:pt x="273" y="130"/>
                    <a:pt x="272" y="134"/>
                  </a:cubicBezTo>
                  <a:lnTo>
                    <a:pt x="263" y="175"/>
                  </a:lnTo>
                  <a:cubicBezTo>
                    <a:pt x="262" y="178"/>
                    <a:pt x="261" y="181"/>
                    <a:pt x="259" y="184"/>
                  </a:cubicBezTo>
                  <a:lnTo>
                    <a:pt x="235" y="217"/>
                  </a:lnTo>
                  <a:cubicBezTo>
                    <a:pt x="233" y="219"/>
                    <a:pt x="231" y="221"/>
                    <a:pt x="228" y="223"/>
                  </a:cubicBezTo>
                  <a:lnTo>
                    <a:pt x="193" y="245"/>
                  </a:lnTo>
                  <a:cubicBezTo>
                    <a:pt x="191" y="246"/>
                    <a:pt x="188" y="248"/>
                    <a:pt x="185" y="248"/>
                  </a:cubicBezTo>
                  <a:lnTo>
                    <a:pt x="141" y="256"/>
                  </a:lnTo>
                  <a:cubicBezTo>
                    <a:pt x="138" y="257"/>
                    <a:pt x="135" y="257"/>
                    <a:pt x="132" y="256"/>
                  </a:cubicBezTo>
                  <a:lnTo>
                    <a:pt x="89" y="248"/>
                  </a:lnTo>
                  <a:cubicBezTo>
                    <a:pt x="86" y="248"/>
                    <a:pt x="83" y="246"/>
                    <a:pt x="81" y="245"/>
                  </a:cubicBezTo>
                  <a:lnTo>
                    <a:pt x="45" y="223"/>
                  </a:lnTo>
                  <a:cubicBezTo>
                    <a:pt x="42" y="221"/>
                    <a:pt x="40" y="219"/>
                    <a:pt x="38" y="217"/>
                  </a:cubicBezTo>
                  <a:lnTo>
                    <a:pt x="14" y="184"/>
                  </a:lnTo>
                  <a:cubicBezTo>
                    <a:pt x="12" y="181"/>
                    <a:pt x="11" y="178"/>
                    <a:pt x="10" y="175"/>
                  </a:cubicBezTo>
                  <a:lnTo>
                    <a:pt x="1" y="134"/>
                  </a:lnTo>
                  <a:close/>
                  <a:moveTo>
                    <a:pt x="57" y="164"/>
                  </a:moveTo>
                  <a:lnTo>
                    <a:pt x="53" y="155"/>
                  </a:lnTo>
                  <a:lnTo>
                    <a:pt x="77" y="188"/>
                  </a:lnTo>
                  <a:lnTo>
                    <a:pt x="70" y="182"/>
                  </a:lnTo>
                  <a:lnTo>
                    <a:pt x="106" y="204"/>
                  </a:lnTo>
                  <a:lnTo>
                    <a:pt x="98" y="201"/>
                  </a:lnTo>
                  <a:lnTo>
                    <a:pt x="141" y="209"/>
                  </a:lnTo>
                  <a:lnTo>
                    <a:pt x="132" y="209"/>
                  </a:lnTo>
                  <a:lnTo>
                    <a:pt x="176" y="201"/>
                  </a:lnTo>
                  <a:lnTo>
                    <a:pt x="168" y="204"/>
                  </a:lnTo>
                  <a:lnTo>
                    <a:pt x="203" y="182"/>
                  </a:lnTo>
                  <a:lnTo>
                    <a:pt x="196" y="188"/>
                  </a:lnTo>
                  <a:lnTo>
                    <a:pt x="220" y="155"/>
                  </a:lnTo>
                  <a:lnTo>
                    <a:pt x="216" y="164"/>
                  </a:lnTo>
                  <a:lnTo>
                    <a:pt x="225" y="123"/>
                  </a:lnTo>
                  <a:lnTo>
                    <a:pt x="225" y="134"/>
                  </a:lnTo>
                  <a:lnTo>
                    <a:pt x="216" y="94"/>
                  </a:lnTo>
                  <a:lnTo>
                    <a:pt x="220" y="103"/>
                  </a:lnTo>
                  <a:lnTo>
                    <a:pt x="196" y="70"/>
                  </a:lnTo>
                  <a:lnTo>
                    <a:pt x="202" y="76"/>
                  </a:lnTo>
                  <a:lnTo>
                    <a:pt x="167" y="53"/>
                  </a:lnTo>
                  <a:lnTo>
                    <a:pt x="176" y="56"/>
                  </a:lnTo>
                  <a:lnTo>
                    <a:pt x="132" y="48"/>
                  </a:lnTo>
                  <a:lnTo>
                    <a:pt x="141" y="48"/>
                  </a:lnTo>
                  <a:lnTo>
                    <a:pt x="98" y="56"/>
                  </a:lnTo>
                  <a:lnTo>
                    <a:pt x="106" y="53"/>
                  </a:lnTo>
                  <a:lnTo>
                    <a:pt x="70" y="76"/>
                  </a:lnTo>
                  <a:lnTo>
                    <a:pt x="77" y="70"/>
                  </a:lnTo>
                  <a:lnTo>
                    <a:pt x="53" y="103"/>
                  </a:lnTo>
                  <a:lnTo>
                    <a:pt x="57" y="94"/>
                  </a:lnTo>
                  <a:lnTo>
                    <a:pt x="48" y="134"/>
                  </a:lnTo>
                  <a:lnTo>
                    <a:pt x="48" y="123"/>
                  </a:lnTo>
                  <a:lnTo>
                    <a:pt x="57" y="164"/>
                  </a:lnTo>
                  <a:close/>
                </a:path>
              </a:pathLst>
            </a:custGeom>
            <a:solidFill>
              <a:srgbClr val="116FA1"/>
            </a:solidFill>
            <a:ln w="0" cap="flat">
              <a:solidFill>
                <a:srgbClr val="116FA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Rectangle 22"/>
            <p:cNvSpPr>
              <a:spLocks noChangeArrowheads="1"/>
            </p:cNvSpPr>
            <p:nvPr/>
          </p:nvSpPr>
          <p:spPr bwMode="auto">
            <a:xfrm>
              <a:off x="2059278" y="4027931"/>
              <a:ext cx="936099" cy="1455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303"/>
              <a:r>
                <a:rPr lang="ru-RU" sz="1200" b="1" dirty="0">
                  <a:solidFill>
                    <a:srgbClr val="00193A"/>
                  </a:solidFill>
                </a:rPr>
                <a:t>КРАСНОКАМЕНСК</a:t>
              </a:r>
            </a:p>
          </p:txBody>
        </p:sp>
        <p:sp>
          <p:nvSpPr>
            <p:cNvPr id="37" name="Rectangle 23"/>
            <p:cNvSpPr>
              <a:spLocks noChangeArrowheads="1"/>
            </p:cNvSpPr>
            <p:nvPr/>
          </p:nvSpPr>
          <p:spPr bwMode="auto">
            <a:xfrm>
              <a:off x="1848800" y="2915545"/>
              <a:ext cx="849070" cy="2668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303"/>
              <a:r>
                <a:rPr lang="ru-RU" sz="1100" b="1" dirty="0">
                  <a:solidFill>
                    <a:srgbClr val="00193A"/>
                  </a:solidFill>
                </a:rPr>
                <a:t>ЗАБАЙКАЛЬСКИЙ</a:t>
              </a:r>
            </a:p>
            <a:p>
              <a:pPr defTabSz="914303"/>
              <a:r>
                <a:rPr lang="ru-RU" sz="1100" b="1" dirty="0">
                  <a:solidFill>
                    <a:srgbClr val="00193A"/>
                  </a:solidFill>
                </a:rPr>
                <a:t>КРАЙ</a:t>
              </a:r>
            </a:p>
          </p:txBody>
        </p:sp>
        <p:pic>
          <p:nvPicPr>
            <p:cNvPr id="38" name="Picture 25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557659" y="1616361"/>
              <a:ext cx="523735" cy="1507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9" name="Picture 26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557659" y="1616361"/>
              <a:ext cx="523735" cy="1507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0" name="Rectangle 27"/>
            <p:cNvSpPr>
              <a:spLocks noChangeArrowheads="1"/>
            </p:cNvSpPr>
            <p:nvPr/>
          </p:nvSpPr>
          <p:spPr bwMode="auto">
            <a:xfrm>
              <a:off x="606709" y="1630068"/>
              <a:ext cx="411393" cy="25892"/>
            </a:xfrm>
            <a:prstGeom prst="rect">
              <a:avLst/>
            </a:prstGeom>
            <a:solidFill>
              <a:srgbClr val="1B1B1B"/>
            </a:solidFill>
            <a:ln w="0" cap="flat">
              <a:solidFill>
                <a:srgbClr val="1B1B1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41" name="Picture 28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565570" y="1793037"/>
              <a:ext cx="523735" cy="1492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2" name="Picture 29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565570" y="1793037"/>
              <a:ext cx="523735" cy="1492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3" name="Rectangle 30"/>
            <p:cNvSpPr>
              <a:spLocks noChangeArrowheads="1"/>
            </p:cNvSpPr>
            <p:nvPr/>
          </p:nvSpPr>
          <p:spPr bwMode="auto">
            <a:xfrm>
              <a:off x="616203" y="1805222"/>
              <a:ext cx="411393" cy="27415"/>
            </a:xfrm>
            <a:prstGeom prst="rect">
              <a:avLst/>
            </a:prstGeom>
            <a:solidFill>
              <a:srgbClr val="1B1B1B"/>
            </a:solidFill>
            <a:ln w="0" cap="flat">
              <a:solidFill>
                <a:srgbClr val="1B1B1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44" name="Picture 31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565570" y="1837207"/>
              <a:ext cx="523735" cy="1492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5" name="Picture 32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565570" y="1837207"/>
              <a:ext cx="523735" cy="1492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6" name="Rectangle 33"/>
            <p:cNvSpPr>
              <a:spLocks noChangeArrowheads="1"/>
            </p:cNvSpPr>
            <p:nvPr/>
          </p:nvSpPr>
          <p:spPr bwMode="auto">
            <a:xfrm>
              <a:off x="616203" y="1849391"/>
              <a:ext cx="411393" cy="27415"/>
            </a:xfrm>
            <a:prstGeom prst="rect">
              <a:avLst/>
            </a:prstGeom>
            <a:solidFill>
              <a:srgbClr val="1B1B1B"/>
            </a:solidFill>
            <a:ln w="0" cap="flat">
              <a:solidFill>
                <a:srgbClr val="1B1B1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" name="Freeform 34"/>
            <p:cNvSpPr>
              <a:spLocks/>
            </p:cNvSpPr>
            <p:nvPr/>
          </p:nvSpPr>
          <p:spPr bwMode="auto">
            <a:xfrm>
              <a:off x="657342" y="1818930"/>
              <a:ext cx="33228" cy="44169"/>
            </a:xfrm>
            <a:custGeom>
              <a:avLst/>
              <a:gdLst/>
              <a:ahLst/>
              <a:cxnLst>
                <a:cxn ang="0">
                  <a:pos x="0" y="4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64" y="40"/>
                </a:cxn>
                <a:cxn ang="0">
                  <a:pos x="64" y="40"/>
                </a:cxn>
                <a:cxn ang="0">
                  <a:pos x="32" y="80"/>
                </a:cxn>
                <a:cxn ang="0">
                  <a:pos x="32" y="80"/>
                </a:cxn>
                <a:cxn ang="0">
                  <a:pos x="32" y="80"/>
                </a:cxn>
                <a:cxn ang="0">
                  <a:pos x="0" y="40"/>
                </a:cxn>
              </a:cxnLst>
              <a:rect l="0" t="0" r="r" b="b"/>
              <a:pathLst>
                <a:path w="64" h="80">
                  <a:moveTo>
                    <a:pt x="0" y="40"/>
                  </a:moveTo>
                  <a:cubicBezTo>
                    <a:pt x="0" y="18"/>
                    <a:pt x="15" y="0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0"/>
                  </a:lnTo>
                  <a:cubicBezTo>
                    <a:pt x="50" y="0"/>
                    <a:pt x="64" y="18"/>
                    <a:pt x="64" y="40"/>
                  </a:cubicBezTo>
                  <a:lnTo>
                    <a:pt x="64" y="40"/>
                  </a:lnTo>
                  <a:cubicBezTo>
                    <a:pt x="64" y="63"/>
                    <a:pt x="50" y="80"/>
                    <a:pt x="32" y="80"/>
                  </a:cubicBezTo>
                  <a:cubicBezTo>
                    <a:pt x="32" y="80"/>
                    <a:pt x="32" y="80"/>
                    <a:pt x="32" y="80"/>
                  </a:cubicBezTo>
                  <a:lnTo>
                    <a:pt x="32" y="80"/>
                  </a:lnTo>
                  <a:cubicBezTo>
                    <a:pt x="15" y="80"/>
                    <a:pt x="0" y="63"/>
                    <a:pt x="0" y="40"/>
                  </a:cubicBezTo>
                  <a:close/>
                </a:path>
              </a:pathLst>
            </a:custGeom>
            <a:solidFill>
              <a:srgbClr val="363637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" name="Freeform 35"/>
            <p:cNvSpPr>
              <a:spLocks noEditPoints="1"/>
            </p:cNvSpPr>
            <p:nvPr/>
          </p:nvSpPr>
          <p:spPr bwMode="auto">
            <a:xfrm>
              <a:off x="644684" y="1805222"/>
              <a:ext cx="58544" cy="71585"/>
            </a:xfrm>
            <a:custGeom>
              <a:avLst/>
              <a:gdLst/>
              <a:ahLst/>
              <a:cxnLst>
                <a:cxn ang="0">
                  <a:pos x="2" y="72"/>
                </a:cxn>
                <a:cxn ang="0">
                  <a:pos x="2" y="56"/>
                </a:cxn>
                <a:cxn ang="0">
                  <a:pos x="12" y="28"/>
                </a:cxn>
                <a:cxn ang="0">
                  <a:pos x="18" y="19"/>
                </a:cxn>
                <a:cxn ang="0">
                  <a:pos x="28" y="10"/>
                </a:cxn>
                <a:cxn ang="0">
                  <a:pos x="39" y="4"/>
                </a:cxn>
                <a:cxn ang="0">
                  <a:pos x="51" y="1"/>
                </a:cxn>
                <a:cxn ang="0">
                  <a:pos x="62" y="1"/>
                </a:cxn>
                <a:cxn ang="0">
                  <a:pos x="75" y="4"/>
                </a:cxn>
                <a:cxn ang="0">
                  <a:pos x="86" y="10"/>
                </a:cxn>
                <a:cxn ang="0">
                  <a:pos x="96" y="19"/>
                </a:cxn>
                <a:cxn ang="0">
                  <a:pos x="102" y="29"/>
                </a:cxn>
                <a:cxn ang="0">
                  <a:pos x="111" y="57"/>
                </a:cxn>
                <a:cxn ang="0">
                  <a:pos x="111" y="72"/>
                </a:cxn>
                <a:cxn ang="0">
                  <a:pos x="102" y="101"/>
                </a:cxn>
                <a:cxn ang="0">
                  <a:pos x="94" y="112"/>
                </a:cxn>
                <a:cxn ang="0">
                  <a:pos x="84" y="120"/>
                </a:cxn>
                <a:cxn ang="0">
                  <a:pos x="75" y="125"/>
                </a:cxn>
                <a:cxn ang="0">
                  <a:pos x="62" y="128"/>
                </a:cxn>
                <a:cxn ang="0">
                  <a:pos x="51" y="128"/>
                </a:cxn>
                <a:cxn ang="0">
                  <a:pos x="39" y="125"/>
                </a:cxn>
                <a:cxn ang="0">
                  <a:pos x="29" y="120"/>
                </a:cxn>
                <a:cxn ang="0">
                  <a:pos x="19" y="112"/>
                </a:cxn>
                <a:cxn ang="0">
                  <a:pos x="12" y="101"/>
                </a:cxn>
                <a:cxn ang="0">
                  <a:pos x="2" y="72"/>
                </a:cxn>
                <a:cxn ang="0">
                  <a:pos x="57" y="86"/>
                </a:cxn>
                <a:cxn ang="0">
                  <a:pos x="49" y="75"/>
                </a:cxn>
                <a:cxn ang="0">
                  <a:pos x="59" y="83"/>
                </a:cxn>
                <a:cxn ang="0">
                  <a:pos x="50" y="78"/>
                </a:cxn>
                <a:cxn ang="0">
                  <a:pos x="62" y="81"/>
                </a:cxn>
                <a:cxn ang="0">
                  <a:pos x="51" y="81"/>
                </a:cxn>
                <a:cxn ang="0">
                  <a:pos x="64" y="78"/>
                </a:cxn>
                <a:cxn ang="0">
                  <a:pos x="54" y="83"/>
                </a:cxn>
                <a:cxn ang="0">
                  <a:pos x="64" y="75"/>
                </a:cxn>
                <a:cxn ang="0">
                  <a:pos x="57" y="86"/>
                </a:cxn>
                <a:cxn ang="0">
                  <a:pos x="66" y="57"/>
                </a:cxn>
                <a:cxn ang="0">
                  <a:pos x="66" y="72"/>
                </a:cxn>
                <a:cxn ang="0">
                  <a:pos x="57" y="44"/>
                </a:cxn>
                <a:cxn ang="0">
                  <a:pos x="63" y="54"/>
                </a:cxn>
                <a:cxn ang="0">
                  <a:pos x="53" y="45"/>
                </a:cxn>
                <a:cxn ang="0">
                  <a:pos x="64" y="51"/>
                </a:cxn>
                <a:cxn ang="0">
                  <a:pos x="51" y="48"/>
                </a:cxn>
                <a:cxn ang="0">
                  <a:pos x="62" y="48"/>
                </a:cxn>
                <a:cxn ang="0">
                  <a:pos x="50" y="51"/>
                </a:cxn>
                <a:cxn ang="0">
                  <a:pos x="61" y="45"/>
                </a:cxn>
                <a:cxn ang="0">
                  <a:pos x="51" y="54"/>
                </a:cxn>
                <a:cxn ang="0">
                  <a:pos x="57" y="45"/>
                </a:cxn>
                <a:cxn ang="0">
                  <a:pos x="47" y="73"/>
                </a:cxn>
                <a:cxn ang="0">
                  <a:pos x="47" y="57"/>
                </a:cxn>
                <a:cxn ang="0">
                  <a:pos x="57" y="86"/>
                </a:cxn>
              </a:cxnLst>
              <a:rect l="0" t="0" r="r" b="b"/>
              <a:pathLst>
                <a:path w="113" h="129">
                  <a:moveTo>
                    <a:pt x="2" y="72"/>
                  </a:moveTo>
                  <a:cubicBezTo>
                    <a:pt x="0" y="67"/>
                    <a:pt x="0" y="62"/>
                    <a:pt x="2" y="56"/>
                  </a:cubicBezTo>
                  <a:lnTo>
                    <a:pt x="12" y="28"/>
                  </a:lnTo>
                  <a:cubicBezTo>
                    <a:pt x="13" y="25"/>
                    <a:pt x="15" y="21"/>
                    <a:pt x="18" y="19"/>
                  </a:cubicBezTo>
                  <a:lnTo>
                    <a:pt x="28" y="10"/>
                  </a:lnTo>
                  <a:cubicBezTo>
                    <a:pt x="31" y="7"/>
                    <a:pt x="35" y="5"/>
                    <a:pt x="39" y="4"/>
                  </a:cubicBezTo>
                  <a:lnTo>
                    <a:pt x="51" y="1"/>
                  </a:lnTo>
                  <a:cubicBezTo>
                    <a:pt x="54" y="0"/>
                    <a:pt x="58" y="0"/>
                    <a:pt x="62" y="1"/>
                  </a:cubicBezTo>
                  <a:lnTo>
                    <a:pt x="75" y="4"/>
                  </a:lnTo>
                  <a:cubicBezTo>
                    <a:pt x="79" y="5"/>
                    <a:pt x="82" y="7"/>
                    <a:pt x="86" y="10"/>
                  </a:cubicBezTo>
                  <a:lnTo>
                    <a:pt x="96" y="19"/>
                  </a:lnTo>
                  <a:cubicBezTo>
                    <a:pt x="99" y="21"/>
                    <a:pt x="101" y="25"/>
                    <a:pt x="102" y="29"/>
                  </a:cubicBezTo>
                  <a:lnTo>
                    <a:pt x="111" y="57"/>
                  </a:lnTo>
                  <a:cubicBezTo>
                    <a:pt x="113" y="62"/>
                    <a:pt x="113" y="67"/>
                    <a:pt x="111" y="72"/>
                  </a:cubicBezTo>
                  <a:lnTo>
                    <a:pt x="102" y="101"/>
                  </a:lnTo>
                  <a:cubicBezTo>
                    <a:pt x="101" y="105"/>
                    <a:pt x="98" y="109"/>
                    <a:pt x="94" y="112"/>
                  </a:cubicBezTo>
                  <a:lnTo>
                    <a:pt x="84" y="120"/>
                  </a:lnTo>
                  <a:cubicBezTo>
                    <a:pt x="82" y="122"/>
                    <a:pt x="78" y="124"/>
                    <a:pt x="75" y="125"/>
                  </a:cubicBezTo>
                  <a:lnTo>
                    <a:pt x="62" y="128"/>
                  </a:lnTo>
                  <a:cubicBezTo>
                    <a:pt x="58" y="129"/>
                    <a:pt x="54" y="129"/>
                    <a:pt x="51" y="128"/>
                  </a:cubicBezTo>
                  <a:lnTo>
                    <a:pt x="39" y="125"/>
                  </a:lnTo>
                  <a:cubicBezTo>
                    <a:pt x="35" y="124"/>
                    <a:pt x="32" y="122"/>
                    <a:pt x="29" y="120"/>
                  </a:cubicBezTo>
                  <a:lnTo>
                    <a:pt x="19" y="112"/>
                  </a:lnTo>
                  <a:cubicBezTo>
                    <a:pt x="16" y="109"/>
                    <a:pt x="13" y="106"/>
                    <a:pt x="12" y="101"/>
                  </a:cubicBezTo>
                  <a:lnTo>
                    <a:pt x="2" y="72"/>
                  </a:lnTo>
                  <a:close/>
                  <a:moveTo>
                    <a:pt x="57" y="86"/>
                  </a:moveTo>
                  <a:lnTo>
                    <a:pt x="49" y="75"/>
                  </a:lnTo>
                  <a:lnTo>
                    <a:pt x="59" y="83"/>
                  </a:lnTo>
                  <a:lnTo>
                    <a:pt x="50" y="78"/>
                  </a:lnTo>
                  <a:lnTo>
                    <a:pt x="62" y="81"/>
                  </a:lnTo>
                  <a:lnTo>
                    <a:pt x="51" y="81"/>
                  </a:lnTo>
                  <a:lnTo>
                    <a:pt x="64" y="78"/>
                  </a:lnTo>
                  <a:lnTo>
                    <a:pt x="54" y="83"/>
                  </a:lnTo>
                  <a:lnTo>
                    <a:pt x="64" y="75"/>
                  </a:lnTo>
                  <a:lnTo>
                    <a:pt x="57" y="86"/>
                  </a:lnTo>
                  <a:lnTo>
                    <a:pt x="66" y="57"/>
                  </a:lnTo>
                  <a:lnTo>
                    <a:pt x="66" y="72"/>
                  </a:lnTo>
                  <a:lnTo>
                    <a:pt x="57" y="44"/>
                  </a:lnTo>
                  <a:lnTo>
                    <a:pt x="63" y="54"/>
                  </a:lnTo>
                  <a:lnTo>
                    <a:pt x="53" y="45"/>
                  </a:lnTo>
                  <a:lnTo>
                    <a:pt x="64" y="51"/>
                  </a:lnTo>
                  <a:lnTo>
                    <a:pt x="51" y="48"/>
                  </a:lnTo>
                  <a:lnTo>
                    <a:pt x="62" y="48"/>
                  </a:lnTo>
                  <a:lnTo>
                    <a:pt x="50" y="51"/>
                  </a:lnTo>
                  <a:lnTo>
                    <a:pt x="61" y="45"/>
                  </a:lnTo>
                  <a:lnTo>
                    <a:pt x="51" y="54"/>
                  </a:lnTo>
                  <a:lnTo>
                    <a:pt x="57" y="45"/>
                  </a:lnTo>
                  <a:lnTo>
                    <a:pt x="47" y="73"/>
                  </a:lnTo>
                  <a:lnTo>
                    <a:pt x="47" y="57"/>
                  </a:lnTo>
                  <a:lnTo>
                    <a:pt x="57" y="86"/>
                  </a:lnTo>
                  <a:close/>
                </a:path>
              </a:pathLst>
            </a:custGeom>
            <a:solidFill>
              <a:srgbClr val="363637"/>
            </a:solidFill>
            <a:ln w="0" cap="flat">
              <a:solidFill>
                <a:srgbClr val="36363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" name="Freeform 36"/>
            <p:cNvSpPr>
              <a:spLocks/>
            </p:cNvSpPr>
            <p:nvPr/>
          </p:nvSpPr>
          <p:spPr bwMode="auto">
            <a:xfrm>
              <a:off x="943735" y="1814360"/>
              <a:ext cx="33228" cy="44169"/>
            </a:xfrm>
            <a:custGeom>
              <a:avLst/>
              <a:gdLst/>
              <a:ahLst/>
              <a:cxnLst>
                <a:cxn ang="0">
                  <a:pos x="0" y="4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64" y="40"/>
                </a:cxn>
                <a:cxn ang="0">
                  <a:pos x="64" y="40"/>
                </a:cxn>
                <a:cxn ang="0">
                  <a:pos x="32" y="80"/>
                </a:cxn>
                <a:cxn ang="0">
                  <a:pos x="32" y="80"/>
                </a:cxn>
                <a:cxn ang="0">
                  <a:pos x="32" y="80"/>
                </a:cxn>
                <a:cxn ang="0">
                  <a:pos x="0" y="40"/>
                </a:cxn>
              </a:cxnLst>
              <a:rect l="0" t="0" r="r" b="b"/>
              <a:pathLst>
                <a:path w="64" h="80">
                  <a:moveTo>
                    <a:pt x="0" y="40"/>
                  </a:moveTo>
                  <a:cubicBezTo>
                    <a:pt x="0" y="18"/>
                    <a:pt x="15" y="0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0"/>
                  </a:lnTo>
                  <a:cubicBezTo>
                    <a:pt x="50" y="0"/>
                    <a:pt x="64" y="18"/>
                    <a:pt x="64" y="40"/>
                  </a:cubicBezTo>
                  <a:lnTo>
                    <a:pt x="64" y="40"/>
                  </a:lnTo>
                  <a:cubicBezTo>
                    <a:pt x="64" y="63"/>
                    <a:pt x="50" y="80"/>
                    <a:pt x="32" y="80"/>
                  </a:cubicBezTo>
                  <a:cubicBezTo>
                    <a:pt x="32" y="80"/>
                    <a:pt x="32" y="80"/>
                    <a:pt x="32" y="80"/>
                  </a:cubicBezTo>
                  <a:lnTo>
                    <a:pt x="32" y="80"/>
                  </a:lnTo>
                  <a:cubicBezTo>
                    <a:pt x="15" y="80"/>
                    <a:pt x="0" y="63"/>
                    <a:pt x="0" y="40"/>
                  </a:cubicBezTo>
                  <a:close/>
                </a:path>
              </a:pathLst>
            </a:custGeom>
            <a:solidFill>
              <a:srgbClr val="363637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" name="Freeform 37"/>
            <p:cNvSpPr>
              <a:spLocks noEditPoints="1"/>
            </p:cNvSpPr>
            <p:nvPr/>
          </p:nvSpPr>
          <p:spPr bwMode="auto">
            <a:xfrm>
              <a:off x="935824" y="1805222"/>
              <a:ext cx="50633" cy="62446"/>
            </a:xfrm>
            <a:custGeom>
              <a:avLst/>
              <a:gdLst/>
              <a:ahLst/>
              <a:cxnLst>
                <a:cxn ang="0">
                  <a:pos x="1" y="62"/>
                </a:cxn>
                <a:cxn ang="0">
                  <a:pos x="1" y="51"/>
                </a:cxn>
                <a:cxn ang="0">
                  <a:pos x="11" y="23"/>
                </a:cxn>
                <a:cxn ang="0">
                  <a:pos x="16" y="17"/>
                </a:cxn>
                <a:cxn ang="0">
                  <a:pos x="26" y="8"/>
                </a:cxn>
                <a:cxn ang="0">
                  <a:pos x="33" y="4"/>
                </a:cxn>
                <a:cxn ang="0">
                  <a:pos x="45" y="1"/>
                </a:cxn>
                <a:cxn ang="0">
                  <a:pos x="52" y="1"/>
                </a:cxn>
                <a:cxn ang="0">
                  <a:pos x="65" y="4"/>
                </a:cxn>
                <a:cxn ang="0">
                  <a:pos x="72" y="8"/>
                </a:cxn>
                <a:cxn ang="0">
                  <a:pos x="82" y="17"/>
                </a:cxn>
                <a:cxn ang="0">
                  <a:pos x="87" y="24"/>
                </a:cxn>
                <a:cxn ang="0">
                  <a:pos x="96" y="52"/>
                </a:cxn>
                <a:cxn ang="0">
                  <a:pos x="96" y="61"/>
                </a:cxn>
                <a:cxn ang="0">
                  <a:pos x="87" y="90"/>
                </a:cxn>
                <a:cxn ang="0">
                  <a:pos x="81" y="98"/>
                </a:cxn>
                <a:cxn ang="0">
                  <a:pos x="71" y="106"/>
                </a:cxn>
                <a:cxn ang="0">
                  <a:pos x="65" y="109"/>
                </a:cxn>
                <a:cxn ang="0">
                  <a:pos x="52" y="112"/>
                </a:cxn>
                <a:cxn ang="0">
                  <a:pos x="45" y="112"/>
                </a:cxn>
                <a:cxn ang="0">
                  <a:pos x="33" y="109"/>
                </a:cxn>
                <a:cxn ang="0">
                  <a:pos x="26" y="106"/>
                </a:cxn>
                <a:cxn ang="0">
                  <a:pos x="16" y="98"/>
                </a:cxn>
                <a:cxn ang="0">
                  <a:pos x="11" y="91"/>
                </a:cxn>
                <a:cxn ang="0">
                  <a:pos x="1" y="62"/>
                </a:cxn>
                <a:cxn ang="0">
                  <a:pos x="42" y="80"/>
                </a:cxn>
                <a:cxn ang="0">
                  <a:pos x="36" y="73"/>
                </a:cxn>
                <a:cxn ang="0">
                  <a:pos x="46" y="81"/>
                </a:cxn>
                <a:cxn ang="0">
                  <a:pos x="40" y="78"/>
                </a:cxn>
                <a:cxn ang="0">
                  <a:pos x="52" y="81"/>
                </a:cxn>
                <a:cxn ang="0">
                  <a:pos x="45" y="81"/>
                </a:cxn>
                <a:cxn ang="0">
                  <a:pos x="58" y="78"/>
                </a:cxn>
                <a:cxn ang="0">
                  <a:pos x="51" y="81"/>
                </a:cxn>
                <a:cxn ang="0">
                  <a:pos x="61" y="73"/>
                </a:cxn>
                <a:cxn ang="0">
                  <a:pos x="56" y="81"/>
                </a:cxn>
                <a:cxn ang="0">
                  <a:pos x="65" y="52"/>
                </a:cxn>
                <a:cxn ang="0">
                  <a:pos x="65" y="61"/>
                </a:cxn>
                <a:cxn ang="0">
                  <a:pos x="56" y="33"/>
                </a:cxn>
                <a:cxn ang="0">
                  <a:pos x="61" y="40"/>
                </a:cxn>
                <a:cxn ang="0">
                  <a:pos x="51" y="31"/>
                </a:cxn>
                <a:cxn ang="0">
                  <a:pos x="58" y="35"/>
                </a:cxn>
                <a:cxn ang="0">
                  <a:pos x="45" y="32"/>
                </a:cxn>
                <a:cxn ang="0">
                  <a:pos x="52" y="32"/>
                </a:cxn>
                <a:cxn ang="0">
                  <a:pos x="40" y="35"/>
                </a:cxn>
                <a:cxn ang="0">
                  <a:pos x="47" y="31"/>
                </a:cxn>
                <a:cxn ang="0">
                  <a:pos x="37" y="40"/>
                </a:cxn>
                <a:cxn ang="0">
                  <a:pos x="42" y="34"/>
                </a:cxn>
                <a:cxn ang="0">
                  <a:pos x="32" y="62"/>
                </a:cxn>
                <a:cxn ang="0">
                  <a:pos x="32" y="51"/>
                </a:cxn>
                <a:cxn ang="0">
                  <a:pos x="42" y="80"/>
                </a:cxn>
              </a:cxnLst>
              <a:rect l="0" t="0" r="r" b="b"/>
              <a:pathLst>
                <a:path w="97" h="113">
                  <a:moveTo>
                    <a:pt x="1" y="62"/>
                  </a:moveTo>
                  <a:cubicBezTo>
                    <a:pt x="0" y="58"/>
                    <a:pt x="0" y="55"/>
                    <a:pt x="1" y="51"/>
                  </a:cubicBezTo>
                  <a:lnTo>
                    <a:pt x="11" y="23"/>
                  </a:lnTo>
                  <a:cubicBezTo>
                    <a:pt x="12" y="21"/>
                    <a:pt x="14" y="18"/>
                    <a:pt x="16" y="17"/>
                  </a:cubicBezTo>
                  <a:lnTo>
                    <a:pt x="26" y="8"/>
                  </a:lnTo>
                  <a:cubicBezTo>
                    <a:pt x="28" y="6"/>
                    <a:pt x="30" y="5"/>
                    <a:pt x="33" y="4"/>
                  </a:cubicBezTo>
                  <a:lnTo>
                    <a:pt x="45" y="1"/>
                  </a:lnTo>
                  <a:cubicBezTo>
                    <a:pt x="47" y="0"/>
                    <a:pt x="50" y="0"/>
                    <a:pt x="52" y="1"/>
                  </a:cubicBezTo>
                  <a:lnTo>
                    <a:pt x="65" y="4"/>
                  </a:lnTo>
                  <a:cubicBezTo>
                    <a:pt x="68" y="4"/>
                    <a:pt x="70" y="6"/>
                    <a:pt x="72" y="8"/>
                  </a:cubicBezTo>
                  <a:lnTo>
                    <a:pt x="82" y="17"/>
                  </a:lnTo>
                  <a:cubicBezTo>
                    <a:pt x="84" y="18"/>
                    <a:pt x="86" y="21"/>
                    <a:pt x="87" y="24"/>
                  </a:cubicBezTo>
                  <a:lnTo>
                    <a:pt x="96" y="52"/>
                  </a:lnTo>
                  <a:cubicBezTo>
                    <a:pt x="97" y="55"/>
                    <a:pt x="97" y="58"/>
                    <a:pt x="96" y="61"/>
                  </a:cubicBezTo>
                  <a:lnTo>
                    <a:pt x="87" y="90"/>
                  </a:lnTo>
                  <a:cubicBezTo>
                    <a:pt x="86" y="93"/>
                    <a:pt x="84" y="96"/>
                    <a:pt x="81" y="98"/>
                  </a:cubicBezTo>
                  <a:lnTo>
                    <a:pt x="71" y="106"/>
                  </a:lnTo>
                  <a:cubicBezTo>
                    <a:pt x="70" y="107"/>
                    <a:pt x="67" y="109"/>
                    <a:pt x="65" y="109"/>
                  </a:cubicBezTo>
                  <a:lnTo>
                    <a:pt x="52" y="112"/>
                  </a:lnTo>
                  <a:cubicBezTo>
                    <a:pt x="50" y="113"/>
                    <a:pt x="47" y="113"/>
                    <a:pt x="45" y="112"/>
                  </a:cubicBezTo>
                  <a:lnTo>
                    <a:pt x="33" y="109"/>
                  </a:lnTo>
                  <a:cubicBezTo>
                    <a:pt x="30" y="108"/>
                    <a:pt x="28" y="107"/>
                    <a:pt x="26" y="106"/>
                  </a:cubicBezTo>
                  <a:lnTo>
                    <a:pt x="16" y="98"/>
                  </a:lnTo>
                  <a:cubicBezTo>
                    <a:pt x="14" y="96"/>
                    <a:pt x="12" y="94"/>
                    <a:pt x="11" y="91"/>
                  </a:cubicBezTo>
                  <a:lnTo>
                    <a:pt x="1" y="62"/>
                  </a:lnTo>
                  <a:close/>
                  <a:moveTo>
                    <a:pt x="42" y="80"/>
                  </a:moveTo>
                  <a:lnTo>
                    <a:pt x="36" y="73"/>
                  </a:lnTo>
                  <a:lnTo>
                    <a:pt x="46" y="81"/>
                  </a:lnTo>
                  <a:lnTo>
                    <a:pt x="40" y="78"/>
                  </a:lnTo>
                  <a:lnTo>
                    <a:pt x="52" y="81"/>
                  </a:lnTo>
                  <a:lnTo>
                    <a:pt x="45" y="81"/>
                  </a:lnTo>
                  <a:lnTo>
                    <a:pt x="58" y="78"/>
                  </a:lnTo>
                  <a:lnTo>
                    <a:pt x="51" y="81"/>
                  </a:lnTo>
                  <a:lnTo>
                    <a:pt x="61" y="73"/>
                  </a:lnTo>
                  <a:lnTo>
                    <a:pt x="56" y="81"/>
                  </a:lnTo>
                  <a:lnTo>
                    <a:pt x="65" y="52"/>
                  </a:lnTo>
                  <a:lnTo>
                    <a:pt x="65" y="61"/>
                  </a:lnTo>
                  <a:lnTo>
                    <a:pt x="56" y="33"/>
                  </a:lnTo>
                  <a:lnTo>
                    <a:pt x="61" y="40"/>
                  </a:lnTo>
                  <a:lnTo>
                    <a:pt x="51" y="31"/>
                  </a:lnTo>
                  <a:lnTo>
                    <a:pt x="58" y="35"/>
                  </a:lnTo>
                  <a:lnTo>
                    <a:pt x="45" y="32"/>
                  </a:lnTo>
                  <a:lnTo>
                    <a:pt x="52" y="32"/>
                  </a:lnTo>
                  <a:lnTo>
                    <a:pt x="40" y="35"/>
                  </a:lnTo>
                  <a:lnTo>
                    <a:pt x="47" y="31"/>
                  </a:lnTo>
                  <a:lnTo>
                    <a:pt x="37" y="40"/>
                  </a:lnTo>
                  <a:lnTo>
                    <a:pt x="42" y="34"/>
                  </a:lnTo>
                  <a:lnTo>
                    <a:pt x="32" y="62"/>
                  </a:lnTo>
                  <a:lnTo>
                    <a:pt x="32" y="51"/>
                  </a:lnTo>
                  <a:lnTo>
                    <a:pt x="42" y="80"/>
                  </a:lnTo>
                  <a:close/>
                </a:path>
              </a:pathLst>
            </a:custGeom>
            <a:solidFill>
              <a:srgbClr val="363637"/>
            </a:solidFill>
            <a:ln w="0" cap="flat">
              <a:solidFill>
                <a:srgbClr val="36363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" name="Freeform 38"/>
            <p:cNvSpPr>
              <a:spLocks/>
            </p:cNvSpPr>
            <p:nvPr/>
          </p:nvSpPr>
          <p:spPr bwMode="auto">
            <a:xfrm>
              <a:off x="795001" y="1814360"/>
              <a:ext cx="33228" cy="44169"/>
            </a:xfrm>
            <a:custGeom>
              <a:avLst/>
              <a:gdLst/>
              <a:ahLst/>
              <a:cxnLst>
                <a:cxn ang="0">
                  <a:pos x="0" y="4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64" y="40"/>
                </a:cxn>
                <a:cxn ang="0">
                  <a:pos x="64" y="40"/>
                </a:cxn>
                <a:cxn ang="0">
                  <a:pos x="32" y="80"/>
                </a:cxn>
                <a:cxn ang="0">
                  <a:pos x="32" y="80"/>
                </a:cxn>
                <a:cxn ang="0">
                  <a:pos x="32" y="80"/>
                </a:cxn>
                <a:cxn ang="0">
                  <a:pos x="0" y="40"/>
                </a:cxn>
              </a:cxnLst>
              <a:rect l="0" t="0" r="r" b="b"/>
              <a:pathLst>
                <a:path w="64" h="80">
                  <a:moveTo>
                    <a:pt x="0" y="40"/>
                  </a:moveTo>
                  <a:cubicBezTo>
                    <a:pt x="0" y="18"/>
                    <a:pt x="15" y="0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lnTo>
                    <a:pt x="32" y="0"/>
                  </a:lnTo>
                  <a:cubicBezTo>
                    <a:pt x="50" y="0"/>
                    <a:pt x="64" y="18"/>
                    <a:pt x="64" y="40"/>
                  </a:cubicBezTo>
                  <a:lnTo>
                    <a:pt x="64" y="40"/>
                  </a:lnTo>
                  <a:cubicBezTo>
                    <a:pt x="64" y="63"/>
                    <a:pt x="50" y="80"/>
                    <a:pt x="32" y="80"/>
                  </a:cubicBezTo>
                  <a:cubicBezTo>
                    <a:pt x="32" y="80"/>
                    <a:pt x="32" y="80"/>
                    <a:pt x="32" y="80"/>
                  </a:cubicBezTo>
                  <a:lnTo>
                    <a:pt x="32" y="80"/>
                  </a:lnTo>
                  <a:cubicBezTo>
                    <a:pt x="15" y="80"/>
                    <a:pt x="0" y="63"/>
                    <a:pt x="0" y="40"/>
                  </a:cubicBezTo>
                  <a:close/>
                </a:path>
              </a:pathLst>
            </a:custGeom>
            <a:solidFill>
              <a:srgbClr val="363637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" name="Freeform 39"/>
            <p:cNvSpPr>
              <a:spLocks noEditPoints="1"/>
            </p:cNvSpPr>
            <p:nvPr/>
          </p:nvSpPr>
          <p:spPr bwMode="auto">
            <a:xfrm>
              <a:off x="785507" y="1805222"/>
              <a:ext cx="50633" cy="62446"/>
            </a:xfrm>
            <a:custGeom>
              <a:avLst/>
              <a:gdLst/>
              <a:ahLst/>
              <a:cxnLst>
                <a:cxn ang="0">
                  <a:pos x="1" y="62"/>
                </a:cxn>
                <a:cxn ang="0">
                  <a:pos x="1" y="51"/>
                </a:cxn>
                <a:cxn ang="0">
                  <a:pos x="11" y="23"/>
                </a:cxn>
                <a:cxn ang="0">
                  <a:pos x="16" y="17"/>
                </a:cxn>
                <a:cxn ang="0">
                  <a:pos x="26" y="8"/>
                </a:cxn>
                <a:cxn ang="0">
                  <a:pos x="33" y="4"/>
                </a:cxn>
                <a:cxn ang="0">
                  <a:pos x="45" y="1"/>
                </a:cxn>
                <a:cxn ang="0">
                  <a:pos x="52" y="1"/>
                </a:cxn>
                <a:cxn ang="0">
                  <a:pos x="65" y="4"/>
                </a:cxn>
                <a:cxn ang="0">
                  <a:pos x="72" y="8"/>
                </a:cxn>
                <a:cxn ang="0">
                  <a:pos x="82" y="17"/>
                </a:cxn>
                <a:cxn ang="0">
                  <a:pos x="87" y="24"/>
                </a:cxn>
                <a:cxn ang="0">
                  <a:pos x="96" y="52"/>
                </a:cxn>
                <a:cxn ang="0">
                  <a:pos x="96" y="61"/>
                </a:cxn>
                <a:cxn ang="0">
                  <a:pos x="87" y="90"/>
                </a:cxn>
                <a:cxn ang="0">
                  <a:pos x="81" y="98"/>
                </a:cxn>
                <a:cxn ang="0">
                  <a:pos x="71" y="106"/>
                </a:cxn>
                <a:cxn ang="0">
                  <a:pos x="65" y="109"/>
                </a:cxn>
                <a:cxn ang="0">
                  <a:pos x="52" y="112"/>
                </a:cxn>
                <a:cxn ang="0">
                  <a:pos x="45" y="112"/>
                </a:cxn>
                <a:cxn ang="0">
                  <a:pos x="33" y="109"/>
                </a:cxn>
                <a:cxn ang="0">
                  <a:pos x="26" y="106"/>
                </a:cxn>
                <a:cxn ang="0">
                  <a:pos x="16" y="98"/>
                </a:cxn>
                <a:cxn ang="0">
                  <a:pos x="11" y="91"/>
                </a:cxn>
                <a:cxn ang="0">
                  <a:pos x="1" y="62"/>
                </a:cxn>
                <a:cxn ang="0">
                  <a:pos x="42" y="80"/>
                </a:cxn>
                <a:cxn ang="0">
                  <a:pos x="36" y="73"/>
                </a:cxn>
                <a:cxn ang="0">
                  <a:pos x="46" y="81"/>
                </a:cxn>
                <a:cxn ang="0">
                  <a:pos x="40" y="78"/>
                </a:cxn>
                <a:cxn ang="0">
                  <a:pos x="52" y="81"/>
                </a:cxn>
                <a:cxn ang="0">
                  <a:pos x="45" y="81"/>
                </a:cxn>
                <a:cxn ang="0">
                  <a:pos x="58" y="78"/>
                </a:cxn>
                <a:cxn ang="0">
                  <a:pos x="51" y="81"/>
                </a:cxn>
                <a:cxn ang="0">
                  <a:pos x="61" y="73"/>
                </a:cxn>
                <a:cxn ang="0">
                  <a:pos x="56" y="81"/>
                </a:cxn>
                <a:cxn ang="0">
                  <a:pos x="65" y="52"/>
                </a:cxn>
                <a:cxn ang="0">
                  <a:pos x="65" y="61"/>
                </a:cxn>
                <a:cxn ang="0">
                  <a:pos x="56" y="33"/>
                </a:cxn>
                <a:cxn ang="0">
                  <a:pos x="61" y="40"/>
                </a:cxn>
                <a:cxn ang="0">
                  <a:pos x="51" y="31"/>
                </a:cxn>
                <a:cxn ang="0">
                  <a:pos x="58" y="35"/>
                </a:cxn>
                <a:cxn ang="0">
                  <a:pos x="45" y="32"/>
                </a:cxn>
                <a:cxn ang="0">
                  <a:pos x="52" y="32"/>
                </a:cxn>
                <a:cxn ang="0">
                  <a:pos x="40" y="35"/>
                </a:cxn>
                <a:cxn ang="0">
                  <a:pos x="47" y="31"/>
                </a:cxn>
                <a:cxn ang="0">
                  <a:pos x="37" y="40"/>
                </a:cxn>
                <a:cxn ang="0">
                  <a:pos x="42" y="34"/>
                </a:cxn>
                <a:cxn ang="0">
                  <a:pos x="32" y="62"/>
                </a:cxn>
                <a:cxn ang="0">
                  <a:pos x="32" y="51"/>
                </a:cxn>
                <a:cxn ang="0">
                  <a:pos x="42" y="80"/>
                </a:cxn>
              </a:cxnLst>
              <a:rect l="0" t="0" r="r" b="b"/>
              <a:pathLst>
                <a:path w="97" h="113">
                  <a:moveTo>
                    <a:pt x="1" y="62"/>
                  </a:moveTo>
                  <a:cubicBezTo>
                    <a:pt x="0" y="58"/>
                    <a:pt x="0" y="55"/>
                    <a:pt x="1" y="51"/>
                  </a:cubicBezTo>
                  <a:lnTo>
                    <a:pt x="11" y="23"/>
                  </a:lnTo>
                  <a:cubicBezTo>
                    <a:pt x="12" y="21"/>
                    <a:pt x="14" y="18"/>
                    <a:pt x="16" y="17"/>
                  </a:cubicBezTo>
                  <a:lnTo>
                    <a:pt x="26" y="8"/>
                  </a:lnTo>
                  <a:cubicBezTo>
                    <a:pt x="28" y="6"/>
                    <a:pt x="30" y="5"/>
                    <a:pt x="33" y="4"/>
                  </a:cubicBezTo>
                  <a:lnTo>
                    <a:pt x="45" y="1"/>
                  </a:lnTo>
                  <a:cubicBezTo>
                    <a:pt x="47" y="0"/>
                    <a:pt x="50" y="0"/>
                    <a:pt x="52" y="1"/>
                  </a:cubicBezTo>
                  <a:lnTo>
                    <a:pt x="65" y="4"/>
                  </a:lnTo>
                  <a:cubicBezTo>
                    <a:pt x="68" y="4"/>
                    <a:pt x="70" y="6"/>
                    <a:pt x="72" y="8"/>
                  </a:cubicBezTo>
                  <a:lnTo>
                    <a:pt x="82" y="17"/>
                  </a:lnTo>
                  <a:cubicBezTo>
                    <a:pt x="84" y="18"/>
                    <a:pt x="86" y="21"/>
                    <a:pt x="87" y="24"/>
                  </a:cubicBezTo>
                  <a:lnTo>
                    <a:pt x="96" y="52"/>
                  </a:lnTo>
                  <a:cubicBezTo>
                    <a:pt x="97" y="55"/>
                    <a:pt x="97" y="58"/>
                    <a:pt x="96" y="61"/>
                  </a:cubicBezTo>
                  <a:lnTo>
                    <a:pt x="87" y="90"/>
                  </a:lnTo>
                  <a:cubicBezTo>
                    <a:pt x="86" y="93"/>
                    <a:pt x="84" y="96"/>
                    <a:pt x="81" y="98"/>
                  </a:cubicBezTo>
                  <a:lnTo>
                    <a:pt x="71" y="106"/>
                  </a:lnTo>
                  <a:cubicBezTo>
                    <a:pt x="70" y="107"/>
                    <a:pt x="67" y="109"/>
                    <a:pt x="65" y="109"/>
                  </a:cubicBezTo>
                  <a:lnTo>
                    <a:pt x="52" y="112"/>
                  </a:lnTo>
                  <a:cubicBezTo>
                    <a:pt x="50" y="113"/>
                    <a:pt x="47" y="113"/>
                    <a:pt x="45" y="112"/>
                  </a:cubicBezTo>
                  <a:lnTo>
                    <a:pt x="33" y="109"/>
                  </a:lnTo>
                  <a:cubicBezTo>
                    <a:pt x="30" y="108"/>
                    <a:pt x="28" y="107"/>
                    <a:pt x="26" y="106"/>
                  </a:cubicBezTo>
                  <a:lnTo>
                    <a:pt x="16" y="98"/>
                  </a:lnTo>
                  <a:cubicBezTo>
                    <a:pt x="14" y="96"/>
                    <a:pt x="12" y="94"/>
                    <a:pt x="11" y="91"/>
                  </a:cubicBezTo>
                  <a:lnTo>
                    <a:pt x="1" y="62"/>
                  </a:lnTo>
                  <a:close/>
                  <a:moveTo>
                    <a:pt x="42" y="80"/>
                  </a:moveTo>
                  <a:lnTo>
                    <a:pt x="36" y="73"/>
                  </a:lnTo>
                  <a:lnTo>
                    <a:pt x="46" y="81"/>
                  </a:lnTo>
                  <a:lnTo>
                    <a:pt x="40" y="78"/>
                  </a:lnTo>
                  <a:lnTo>
                    <a:pt x="52" y="81"/>
                  </a:lnTo>
                  <a:lnTo>
                    <a:pt x="45" y="81"/>
                  </a:lnTo>
                  <a:lnTo>
                    <a:pt x="58" y="78"/>
                  </a:lnTo>
                  <a:lnTo>
                    <a:pt x="51" y="81"/>
                  </a:lnTo>
                  <a:lnTo>
                    <a:pt x="61" y="73"/>
                  </a:lnTo>
                  <a:lnTo>
                    <a:pt x="56" y="81"/>
                  </a:lnTo>
                  <a:lnTo>
                    <a:pt x="65" y="52"/>
                  </a:lnTo>
                  <a:lnTo>
                    <a:pt x="65" y="61"/>
                  </a:lnTo>
                  <a:lnTo>
                    <a:pt x="56" y="33"/>
                  </a:lnTo>
                  <a:lnTo>
                    <a:pt x="61" y="40"/>
                  </a:lnTo>
                  <a:lnTo>
                    <a:pt x="51" y="31"/>
                  </a:lnTo>
                  <a:lnTo>
                    <a:pt x="58" y="35"/>
                  </a:lnTo>
                  <a:lnTo>
                    <a:pt x="45" y="32"/>
                  </a:lnTo>
                  <a:lnTo>
                    <a:pt x="52" y="32"/>
                  </a:lnTo>
                  <a:lnTo>
                    <a:pt x="40" y="35"/>
                  </a:lnTo>
                  <a:lnTo>
                    <a:pt x="47" y="31"/>
                  </a:lnTo>
                  <a:lnTo>
                    <a:pt x="37" y="40"/>
                  </a:lnTo>
                  <a:lnTo>
                    <a:pt x="42" y="34"/>
                  </a:lnTo>
                  <a:lnTo>
                    <a:pt x="32" y="62"/>
                  </a:lnTo>
                  <a:lnTo>
                    <a:pt x="32" y="51"/>
                  </a:lnTo>
                  <a:lnTo>
                    <a:pt x="42" y="80"/>
                  </a:lnTo>
                  <a:close/>
                </a:path>
              </a:pathLst>
            </a:custGeom>
            <a:solidFill>
              <a:srgbClr val="363637"/>
            </a:solidFill>
            <a:ln w="0" cap="flat">
              <a:solidFill>
                <a:srgbClr val="36363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" name="Rectangle 40"/>
            <p:cNvSpPr>
              <a:spLocks noChangeArrowheads="1"/>
            </p:cNvSpPr>
            <p:nvPr/>
          </p:nvSpPr>
          <p:spPr bwMode="auto">
            <a:xfrm>
              <a:off x="1196900" y="1774760"/>
              <a:ext cx="438434" cy="1091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303"/>
              <a:r>
                <a:rPr lang="ru-RU" sz="900" dirty="0">
                  <a:solidFill>
                    <a:srgbClr val="000000"/>
                  </a:solidFill>
                </a:rPr>
                <a:t>ж/</a:t>
              </a:r>
              <a:r>
                <a:rPr lang="ru-RU" sz="900" dirty="0" err="1">
                  <a:solidFill>
                    <a:srgbClr val="000000"/>
                  </a:solidFill>
                </a:rPr>
                <a:t>д</a:t>
              </a:r>
              <a:r>
                <a:rPr lang="ru-RU" sz="900" dirty="0">
                  <a:solidFill>
                    <a:srgbClr val="000000"/>
                  </a:solidFill>
                </a:rPr>
                <a:t> дорога</a:t>
              </a:r>
              <a:endParaRPr lang="ru-RU" dirty="0"/>
            </a:p>
          </p:txBody>
        </p:sp>
        <p:sp>
          <p:nvSpPr>
            <p:cNvPr id="54" name="Rectangle 41"/>
            <p:cNvSpPr>
              <a:spLocks noChangeArrowheads="1"/>
            </p:cNvSpPr>
            <p:nvPr/>
          </p:nvSpPr>
          <p:spPr bwMode="auto">
            <a:xfrm>
              <a:off x="1196900" y="1579807"/>
              <a:ext cx="458650" cy="1091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14303"/>
              <a:r>
                <a:rPr lang="ru-RU" sz="900" dirty="0">
                  <a:solidFill>
                    <a:srgbClr val="000000"/>
                  </a:solidFill>
                </a:rPr>
                <a:t>автодорога</a:t>
              </a:r>
              <a:r>
                <a:rPr lang="en-US" sz="900" dirty="0">
                  <a:solidFill>
                    <a:srgbClr val="000000"/>
                  </a:solidFill>
                </a:rPr>
                <a:t> </a:t>
              </a:r>
              <a:endParaRPr lang="ru-RU" dirty="0"/>
            </a:p>
          </p:txBody>
        </p:sp>
        <p:sp>
          <p:nvSpPr>
            <p:cNvPr id="55" name="Freeform 42"/>
            <p:cNvSpPr>
              <a:spLocks noEditPoints="1"/>
            </p:cNvSpPr>
            <p:nvPr/>
          </p:nvSpPr>
          <p:spPr bwMode="auto">
            <a:xfrm>
              <a:off x="537089" y="1524976"/>
              <a:ext cx="1481015" cy="421892"/>
            </a:xfrm>
            <a:custGeom>
              <a:avLst/>
              <a:gdLst/>
              <a:ahLst/>
              <a:cxnLst>
                <a:cxn ang="0">
                  <a:pos x="1" y="43"/>
                </a:cxn>
                <a:cxn ang="0">
                  <a:pos x="5" y="26"/>
                </a:cxn>
                <a:cxn ang="0">
                  <a:pos x="15" y="13"/>
                </a:cxn>
                <a:cxn ang="0">
                  <a:pos x="29" y="4"/>
                </a:cxn>
                <a:cxn ang="0">
                  <a:pos x="44" y="0"/>
                </a:cxn>
                <a:cxn ang="0">
                  <a:pos x="2807" y="1"/>
                </a:cxn>
                <a:cxn ang="0">
                  <a:pos x="2823" y="5"/>
                </a:cxn>
                <a:cxn ang="0">
                  <a:pos x="2838" y="16"/>
                </a:cxn>
                <a:cxn ang="0">
                  <a:pos x="2848" y="44"/>
                </a:cxn>
                <a:cxn ang="0">
                  <a:pos x="2848" y="728"/>
                </a:cxn>
                <a:cxn ang="0">
                  <a:pos x="2833" y="758"/>
                </a:cxn>
                <a:cxn ang="0">
                  <a:pos x="2805" y="768"/>
                </a:cxn>
                <a:cxn ang="0">
                  <a:pos x="41" y="768"/>
                </a:cxn>
                <a:cxn ang="0">
                  <a:pos x="13" y="755"/>
                </a:cxn>
                <a:cxn ang="0">
                  <a:pos x="4" y="740"/>
                </a:cxn>
                <a:cxn ang="0">
                  <a:pos x="0" y="725"/>
                </a:cxn>
                <a:cxn ang="0">
                  <a:pos x="16" y="725"/>
                </a:cxn>
                <a:cxn ang="0">
                  <a:pos x="19" y="737"/>
                </a:cxn>
                <a:cxn ang="0">
                  <a:pos x="26" y="746"/>
                </a:cxn>
                <a:cxn ang="0">
                  <a:pos x="47" y="753"/>
                </a:cxn>
                <a:cxn ang="0">
                  <a:pos x="2805" y="752"/>
                </a:cxn>
                <a:cxn ang="0">
                  <a:pos x="2827" y="743"/>
                </a:cxn>
                <a:cxn ang="0">
                  <a:pos x="2833" y="722"/>
                </a:cxn>
                <a:cxn ang="0">
                  <a:pos x="2832" y="44"/>
                </a:cxn>
                <a:cxn ang="0">
                  <a:pos x="2823" y="22"/>
                </a:cxn>
                <a:cxn ang="0">
                  <a:pos x="2814" y="18"/>
                </a:cxn>
                <a:cxn ang="0">
                  <a:pos x="2804" y="16"/>
                </a:cxn>
                <a:cxn ang="0">
                  <a:pos x="44" y="16"/>
                </a:cxn>
                <a:cxn ang="0">
                  <a:pos x="32" y="19"/>
                </a:cxn>
                <a:cxn ang="0">
                  <a:pos x="24" y="26"/>
                </a:cxn>
                <a:cxn ang="0">
                  <a:pos x="18" y="35"/>
                </a:cxn>
                <a:cxn ang="0">
                  <a:pos x="16" y="46"/>
                </a:cxn>
                <a:cxn ang="0">
                  <a:pos x="16" y="725"/>
                </a:cxn>
              </a:cxnLst>
              <a:rect l="0" t="0" r="r" b="b"/>
              <a:pathLst>
                <a:path w="2848" h="768">
                  <a:moveTo>
                    <a:pt x="0" y="44"/>
                  </a:moveTo>
                  <a:cubicBezTo>
                    <a:pt x="0" y="44"/>
                    <a:pt x="1" y="43"/>
                    <a:pt x="1" y="43"/>
                  </a:cubicBezTo>
                  <a:lnTo>
                    <a:pt x="4" y="29"/>
                  </a:lnTo>
                  <a:cubicBezTo>
                    <a:pt x="4" y="28"/>
                    <a:pt x="4" y="27"/>
                    <a:pt x="5" y="26"/>
                  </a:cubicBezTo>
                  <a:lnTo>
                    <a:pt x="13" y="15"/>
                  </a:lnTo>
                  <a:cubicBezTo>
                    <a:pt x="13" y="14"/>
                    <a:pt x="14" y="13"/>
                    <a:pt x="15" y="13"/>
                  </a:cubicBezTo>
                  <a:lnTo>
                    <a:pt x="26" y="5"/>
                  </a:lnTo>
                  <a:cubicBezTo>
                    <a:pt x="27" y="4"/>
                    <a:pt x="28" y="4"/>
                    <a:pt x="29" y="4"/>
                  </a:cubicBezTo>
                  <a:lnTo>
                    <a:pt x="43" y="1"/>
                  </a:lnTo>
                  <a:cubicBezTo>
                    <a:pt x="43" y="1"/>
                    <a:pt x="44" y="0"/>
                    <a:pt x="44" y="0"/>
                  </a:cubicBezTo>
                  <a:lnTo>
                    <a:pt x="2805" y="0"/>
                  </a:lnTo>
                  <a:cubicBezTo>
                    <a:pt x="2806" y="0"/>
                    <a:pt x="2807" y="1"/>
                    <a:pt x="2807" y="1"/>
                  </a:cubicBezTo>
                  <a:lnTo>
                    <a:pt x="2820" y="4"/>
                  </a:lnTo>
                  <a:cubicBezTo>
                    <a:pt x="2821" y="4"/>
                    <a:pt x="2822" y="4"/>
                    <a:pt x="2823" y="5"/>
                  </a:cubicBezTo>
                  <a:lnTo>
                    <a:pt x="2835" y="13"/>
                  </a:lnTo>
                  <a:cubicBezTo>
                    <a:pt x="2836" y="14"/>
                    <a:pt x="2837" y="15"/>
                    <a:pt x="2838" y="16"/>
                  </a:cubicBezTo>
                  <a:lnTo>
                    <a:pt x="2848" y="41"/>
                  </a:lnTo>
                  <a:cubicBezTo>
                    <a:pt x="2848" y="42"/>
                    <a:pt x="2848" y="43"/>
                    <a:pt x="2848" y="44"/>
                  </a:cubicBezTo>
                  <a:lnTo>
                    <a:pt x="2848" y="725"/>
                  </a:lnTo>
                  <a:cubicBezTo>
                    <a:pt x="2848" y="726"/>
                    <a:pt x="2848" y="727"/>
                    <a:pt x="2848" y="728"/>
                  </a:cubicBezTo>
                  <a:lnTo>
                    <a:pt x="2838" y="753"/>
                  </a:lnTo>
                  <a:cubicBezTo>
                    <a:pt x="2837" y="755"/>
                    <a:pt x="2835" y="757"/>
                    <a:pt x="2833" y="758"/>
                  </a:cubicBezTo>
                  <a:lnTo>
                    <a:pt x="2808" y="768"/>
                  </a:lnTo>
                  <a:cubicBezTo>
                    <a:pt x="2807" y="768"/>
                    <a:pt x="2806" y="768"/>
                    <a:pt x="2805" y="768"/>
                  </a:cubicBezTo>
                  <a:lnTo>
                    <a:pt x="44" y="768"/>
                  </a:lnTo>
                  <a:cubicBezTo>
                    <a:pt x="43" y="768"/>
                    <a:pt x="42" y="768"/>
                    <a:pt x="41" y="768"/>
                  </a:cubicBezTo>
                  <a:lnTo>
                    <a:pt x="16" y="758"/>
                  </a:lnTo>
                  <a:cubicBezTo>
                    <a:pt x="15" y="757"/>
                    <a:pt x="14" y="756"/>
                    <a:pt x="13" y="755"/>
                  </a:cubicBezTo>
                  <a:lnTo>
                    <a:pt x="5" y="743"/>
                  </a:lnTo>
                  <a:cubicBezTo>
                    <a:pt x="4" y="742"/>
                    <a:pt x="4" y="741"/>
                    <a:pt x="4" y="740"/>
                  </a:cubicBezTo>
                  <a:lnTo>
                    <a:pt x="1" y="727"/>
                  </a:lnTo>
                  <a:cubicBezTo>
                    <a:pt x="1" y="727"/>
                    <a:pt x="0" y="726"/>
                    <a:pt x="0" y="725"/>
                  </a:cubicBezTo>
                  <a:lnTo>
                    <a:pt x="0" y="44"/>
                  </a:lnTo>
                  <a:close/>
                  <a:moveTo>
                    <a:pt x="16" y="725"/>
                  </a:moveTo>
                  <a:lnTo>
                    <a:pt x="16" y="724"/>
                  </a:lnTo>
                  <a:lnTo>
                    <a:pt x="19" y="737"/>
                  </a:lnTo>
                  <a:lnTo>
                    <a:pt x="18" y="734"/>
                  </a:lnTo>
                  <a:lnTo>
                    <a:pt x="26" y="746"/>
                  </a:lnTo>
                  <a:lnTo>
                    <a:pt x="22" y="743"/>
                  </a:lnTo>
                  <a:lnTo>
                    <a:pt x="47" y="753"/>
                  </a:lnTo>
                  <a:lnTo>
                    <a:pt x="44" y="752"/>
                  </a:lnTo>
                  <a:lnTo>
                    <a:pt x="2805" y="752"/>
                  </a:lnTo>
                  <a:lnTo>
                    <a:pt x="2802" y="753"/>
                  </a:lnTo>
                  <a:lnTo>
                    <a:pt x="2827" y="743"/>
                  </a:lnTo>
                  <a:lnTo>
                    <a:pt x="2823" y="747"/>
                  </a:lnTo>
                  <a:lnTo>
                    <a:pt x="2833" y="722"/>
                  </a:lnTo>
                  <a:lnTo>
                    <a:pt x="2832" y="725"/>
                  </a:lnTo>
                  <a:lnTo>
                    <a:pt x="2832" y="44"/>
                  </a:lnTo>
                  <a:lnTo>
                    <a:pt x="2833" y="47"/>
                  </a:lnTo>
                  <a:lnTo>
                    <a:pt x="2823" y="22"/>
                  </a:lnTo>
                  <a:lnTo>
                    <a:pt x="2826" y="26"/>
                  </a:lnTo>
                  <a:lnTo>
                    <a:pt x="2814" y="18"/>
                  </a:lnTo>
                  <a:lnTo>
                    <a:pt x="2817" y="19"/>
                  </a:lnTo>
                  <a:lnTo>
                    <a:pt x="2804" y="16"/>
                  </a:lnTo>
                  <a:lnTo>
                    <a:pt x="2805" y="16"/>
                  </a:lnTo>
                  <a:lnTo>
                    <a:pt x="44" y="16"/>
                  </a:lnTo>
                  <a:lnTo>
                    <a:pt x="46" y="16"/>
                  </a:lnTo>
                  <a:lnTo>
                    <a:pt x="32" y="19"/>
                  </a:lnTo>
                  <a:lnTo>
                    <a:pt x="35" y="18"/>
                  </a:lnTo>
                  <a:lnTo>
                    <a:pt x="24" y="26"/>
                  </a:lnTo>
                  <a:lnTo>
                    <a:pt x="26" y="24"/>
                  </a:lnTo>
                  <a:lnTo>
                    <a:pt x="18" y="35"/>
                  </a:lnTo>
                  <a:lnTo>
                    <a:pt x="19" y="32"/>
                  </a:lnTo>
                  <a:lnTo>
                    <a:pt x="16" y="46"/>
                  </a:lnTo>
                  <a:lnTo>
                    <a:pt x="16" y="44"/>
                  </a:lnTo>
                  <a:lnTo>
                    <a:pt x="16" y="725"/>
                  </a:lnTo>
                  <a:close/>
                </a:path>
              </a:pathLst>
            </a:custGeom>
            <a:solidFill>
              <a:srgbClr val="4596D1"/>
            </a:solidFill>
            <a:ln w="0" cap="flat">
              <a:solidFill>
                <a:srgbClr val="4596D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4" name="Группа 55"/>
          <p:cNvGrpSpPr/>
          <p:nvPr/>
        </p:nvGrpSpPr>
        <p:grpSpPr>
          <a:xfrm>
            <a:off x="4918916" y="3255803"/>
            <a:ext cx="3329117" cy="2973289"/>
            <a:chOff x="-3358210" y="1332039"/>
            <a:chExt cx="3262651" cy="2914099"/>
          </a:xfrm>
        </p:grpSpPr>
        <p:grpSp>
          <p:nvGrpSpPr>
            <p:cNvPr id="5" name="Группа 62"/>
            <p:cNvGrpSpPr/>
            <p:nvPr/>
          </p:nvGrpSpPr>
          <p:grpSpPr>
            <a:xfrm>
              <a:off x="-3343663" y="1332039"/>
              <a:ext cx="3131366" cy="373176"/>
              <a:chOff x="5561916" y="1962126"/>
              <a:chExt cx="3131366" cy="373176"/>
            </a:xfrm>
          </p:grpSpPr>
          <p:pic>
            <p:nvPicPr>
              <p:cNvPr id="79" name="Picture 3" descr="C:\Users\borodich.e.v\Pictures\Слайд 2_табл.jpg"/>
              <p:cNvPicPr>
                <a:picLocks noChangeAspect="1" noChangeArrowheads="1"/>
              </p:cNvPicPr>
              <p:nvPr/>
            </p:nvPicPr>
            <p:blipFill rotWithShape="1"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" t="27148" r="13" b="65568"/>
              <a:stretch/>
            </p:blipFill>
            <p:spPr bwMode="auto">
              <a:xfrm>
                <a:off x="5561916" y="1962126"/>
                <a:ext cx="3131366" cy="369770"/>
              </a:xfrm>
              <a:prstGeom prst="rect">
                <a:avLst/>
              </a:prstGeom>
              <a:noFill/>
              <a:ln w="28575">
                <a:solidFill>
                  <a:schemeClr val="accent6">
                    <a:lumMod val="20000"/>
                    <a:lumOff val="80000"/>
                  </a:schemeClr>
                </a:solidFill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80" name="TextBox 79"/>
              <p:cNvSpPr txBox="1"/>
              <p:nvPr/>
            </p:nvSpPr>
            <p:spPr>
              <a:xfrm>
                <a:off x="6660886" y="2124147"/>
                <a:ext cx="1725283" cy="2111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800" dirty="0"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резервные энергомощности</a:t>
                </a:r>
              </a:p>
            </p:txBody>
          </p:sp>
        </p:grpSp>
        <p:grpSp>
          <p:nvGrpSpPr>
            <p:cNvPr id="6" name="Группа 63"/>
            <p:cNvGrpSpPr/>
            <p:nvPr/>
          </p:nvGrpSpPr>
          <p:grpSpPr>
            <a:xfrm>
              <a:off x="-3358210" y="1719263"/>
              <a:ext cx="3262651" cy="2526875"/>
              <a:chOff x="-3275674" y="3776663"/>
              <a:chExt cx="3262651" cy="2526875"/>
            </a:xfrm>
          </p:grpSpPr>
          <p:pic>
            <p:nvPicPr>
              <p:cNvPr id="65" name="Picture 3" descr="C:\Users\borodich.e.v\Pictures\Слайд 2_табл.jpg"/>
              <p:cNvPicPr>
                <a:picLocks noChangeAspect="1" noChangeArrowheads="1"/>
              </p:cNvPicPr>
              <p:nvPr/>
            </p:nvPicPr>
            <p:blipFill rotWithShape="1"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" t="57974" r="13" b="-1"/>
              <a:stretch/>
            </p:blipFill>
            <p:spPr bwMode="auto">
              <a:xfrm>
                <a:off x="-3255354" y="3776663"/>
                <a:ext cx="3131366" cy="2133398"/>
              </a:xfrm>
              <a:prstGeom prst="rect">
                <a:avLst/>
              </a:prstGeom>
              <a:noFill/>
              <a:ln w="28575">
                <a:solidFill>
                  <a:schemeClr val="accent6">
                    <a:lumMod val="20000"/>
                    <a:lumOff val="80000"/>
                  </a:schemeClr>
                </a:solidFill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6" name="TextBox 65"/>
              <p:cNvSpPr txBox="1"/>
              <p:nvPr/>
            </p:nvSpPr>
            <p:spPr>
              <a:xfrm>
                <a:off x="-1871713" y="3903659"/>
                <a:ext cx="1725283" cy="2111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800" dirty="0"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- кадровые ресурсы:</a:t>
                </a:r>
              </a:p>
            </p:txBody>
          </p:sp>
          <p:sp>
            <p:nvSpPr>
              <p:cNvPr id="67" name="TextBox 66"/>
              <p:cNvSpPr txBox="1"/>
              <p:nvPr/>
            </p:nvSpPr>
            <p:spPr>
              <a:xfrm>
                <a:off x="-2190888" y="4263808"/>
                <a:ext cx="1725283" cy="2111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800" dirty="0"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- средний возраст</a:t>
                </a: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-2068675" y="4541291"/>
                <a:ext cx="1725283" cy="3318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800" dirty="0"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людей с высшим и средним образованием</a:t>
                </a:r>
              </a:p>
            </p:txBody>
          </p:sp>
          <p:sp>
            <p:nvSpPr>
              <p:cNvPr id="69" name="TextBox 68"/>
              <p:cNvSpPr txBox="1"/>
              <p:nvPr/>
            </p:nvSpPr>
            <p:spPr>
              <a:xfrm>
                <a:off x="-2268535" y="5039470"/>
                <a:ext cx="2234242" cy="2111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800" dirty="0"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- до границы с КНР, действующий</a:t>
                </a: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-2698174" y="5170080"/>
                <a:ext cx="2685151" cy="21115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800" dirty="0"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таможенный комплекс – прямой выход на рынки АТР</a:t>
                </a:r>
              </a:p>
            </p:txBody>
          </p:sp>
          <p:sp>
            <p:nvSpPr>
              <p:cNvPr id="71" name="TextBox 70"/>
              <p:cNvSpPr txBox="1"/>
              <p:nvPr/>
            </p:nvSpPr>
            <p:spPr>
              <a:xfrm>
                <a:off x="-2190888" y="5565682"/>
                <a:ext cx="1725283" cy="2111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800" dirty="0"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солнечных дней в году</a:t>
                </a:r>
              </a:p>
            </p:txBody>
          </p:sp>
          <p:pic>
            <p:nvPicPr>
              <p:cNvPr id="72" name="Picture 2"/>
              <p:cNvPicPr>
                <a:picLocks noChangeAspect="1" noChangeArrowheads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3275674" y="4858495"/>
                <a:ext cx="3168000" cy="5768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3" name="TextBox 72"/>
              <p:cNvSpPr txBox="1"/>
              <p:nvPr/>
            </p:nvSpPr>
            <p:spPr>
              <a:xfrm>
                <a:off x="-2821658" y="4936060"/>
                <a:ext cx="850288" cy="34689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700" b="1" spc="-153" dirty="0">
                    <a:solidFill>
                      <a:srgbClr val="B2DD83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~300</a:t>
                </a:r>
                <a:r>
                  <a:rPr lang="ru-RU" sz="1700" b="1" spc="-153" dirty="0">
                    <a:solidFill>
                      <a:srgbClr val="B2DD83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00 </a:t>
                </a:r>
                <a:r>
                  <a:rPr lang="ru-RU" sz="800" b="1" spc="-153" dirty="0">
                    <a:solidFill>
                      <a:srgbClr val="B2DD83"/>
                    </a:solidFill>
                    <a:ea typeface="Tahoma" panose="020B0604030504040204" pitchFamily="34" charset="0"/>
                    <a:cs typeface="Tahoma" panose="020B0604030504040204" pitchFamily="34" charset="0"/>
                  </a:rPr>
                  <a:t>руб.</a:t>
                </a:r>
              </a:p>
            </p:txBody>
          </p:sp>
          <p:sp>
            <p:nvSpPr>
              <p:cNvPr id="74" name="TextBox 73"/>
              <p:cNvSpPr txBox="1"/>
              <p:nvPr/>
            </p:nvSpPr>
            <p:spPr>
              <a:xfrm>
                <a:off x="-1676432" y="4969165"/>
                <a:ext cx="1487060" cy="3318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800" dirty="0"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- средняя заработная плата в г. Краснокаменск </a:t>
                </a:r>
              </a:p>
            </p:txBody>
          </p:sp>
          <p:pic>
            <p:nvPicPr>
              <p:cNvPr id="75" name="Picture 3" descr="C:\Users\borodich.e.v\Pictures\Слайд 2_табл.jpg"/>
              <p:cNvPicPr>
                <a:picLocks noChangeAspect="1" noChangeArrowheads="1"/>
              </p:cNvPicPr>
              <p:nvPr/>
            </p:nvPicPr>
            <p:blipFill rotWithShape="1"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" t="81351" r="13" b="1"/>
              <a:stretch/>
            </p:blipFill>
            <p:spPr bwMode="auto">
              <a:xfrm>
                <a:off x="-3255354" y="5356899"/>
                <a:ext cx="3131366" cy="946639"/>
              </a:xfrm>
              <a:prstGeom prst="rect">
                <a:avLst/>
              </a:prstGeom>
              <a:noFill/>
              <a:ln w="28575">
                <a:solidFill>
                  <a:schemeClr val="accent6">
                    <a:lumMod val="20000"/>
                    <a:lumOff val="80000"/>
                  </a:schemeClr>
                </a:solidFill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6" name="TextBox 75"/>
              <p:cNvSpPr txBox="1"/>
              <p:nvPr/>
            </p:nvSpPr>
            <p:spPr>
              <a:xfrm>
                <a:off x="-2290708" y="5432947"/>
                <a:ext cx="2234243" cy="3318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800" dirty="0"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до границы с КНР, действующий таможенный</a:t>
                </a:r>
              </a:p>
            </p:txBody>
          </p:sp>
          <p:sp>
            <p:nvSpPr>
              <p:cNvPr id="77" name="Прямоугольник 76"/>
              <p:cNvSpPr/>
              <p:nvPr/>
            </p:nvSpPr>
            <p:spPr>
              <a:xfrm>
                <a:off x="-2712034" y="5563557"/>
                <a:ext cx="2504487" cy="21115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800" dirty="0"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комплекс – прямой выход на рынки России и АТР</a:t>
                </a:r>
              </a:p>
            </p:txBody>
          </p:sp>
          <p:sp>
            <p:nvSpPr>
              <p:cNvPr id="78" name="TextBox 77"/>
              <p:cNvSpPr txBox="1"/>
              <p:nvPr/>
            </p:nvSpPr>
            <p:spPr>
              <a:xfrm>
                <a:off x="-2204748" y="5959159"/>
                <a:ext cx="1725283" cy="2111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800" dirty="0"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солнечных дней в году</a:t>
                </a:r>
              </a:p>
            </p:txBody>
          </p:sp>
        </p:grpSp>
      </p:grpSp>
      <p:sp>
        <p:nvSpPr>
          <p:cNvPr id="81" name="TextBox 80"/>
          <p:cNvSpPr txBox="1"/>
          <p:nvPr/>
        </p:nvSpPr>
        <p:spPr>
          <a:xfrm>
            <a:off x="4113620" y="1299923"/>
            <a:ext cx="4918006" cy="1852697"/>
          </a:xfrm>
          <a:prstGeom prst="rect">
            <a:avLst/>
          </a:prstGeom>
          <a:noFill/>
        </p:spPr>
        <p:txBody>
          <a:bodyPr wrap="square" lIns="93226" tIns="46614" rIns="93226" bIns="46614" rtlCol="0">
            <a:spAutoFit/>
          </a:bodyPr>
          <a:lstStyle/>
          <a:p>
            <a:pPr marL="291551" indent="-291551"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ыгодное географическое положение и логистика </a:t>
            </a:r>
            <a:r>
              <a:rPr lang="ru-RU" sz="1400" dirty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</a:t>
            </a:r>
            <a:r>
              <a:rPr lang="ru-RU" sz="1400" b="1" dirty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80 км </a:t>
            </a:r>
            <a:r>
              <a:rPr lang="ru-RU" sz="1400" dirty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о границы с КНР, действующий таможенный комплекс в г. Забайкальск – прямой выход на рынки России и АТР)</a:t>
            </a:r>
          </a:p>
          <a:p>
            <a:pPr marL="291551" indent="-291551">
              <a:buFont typeface="Arial" panose="020B0604020202020204" pitchFamily="34" charset="0"/>
              <a:buChar char="•"/>
            </a:pPr>
            <a:endParaRPr lang="ru-RU" sz="1400" dirty="0">
              <a:solidFill>
                <a:srgbClr val="00559B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91551" indent="-291551"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лощадка высокой готовности </a:t>
            </a:r>
            <a:r>
              <a:rPr lang="ru-RU" sz="1400" dirty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 развитой промышленной и транспортно-логистической инфраструктурой</a:t>
            </a:r>
          </a:p>
        </p:txBody>
      </p:sp>
    </p:spTree>
    <p:extLst>
      <p:ext uri="{BB962C8B-B14F-4D97-AF65-F5344CB8AC3E}">
        <p14:creationId xmlns:p14="http://schemas.microsoft.com/office/powerpoint/2010/main" val="21234920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9223686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25470"/>
          </a:xfrm>
        </p:spPr>
        <p:txBody>
          <a:bodyPr/>
          <a:lstStyle/>
          <a:p>
            <a:r>
              <a:rPr lang="ru-RU" sz="1800" b="1" dirty="0">
                <a:latin typeface="Arial" pitchFamily="34" charset="0"/>
                <a:cs typeface="Arial" pitchFamily="34" charset="0"/>
              </a:rPr>
              <a:t>Льготы для инвесторов</a:t>
            </a:r>
            <a:endParaRPr lang="ru-RU" b="1" dirty="0"/>
          </a:p>
        </p:txBody>
      </p:sp>
      <p:sp>
        <p:nvSpPr>
          <p:cNvPr id="26" name="TextBox 25"/>
          <p:cNvSpPr txBox="1"/>
          <p:nvPr/>
        </p:nvSpPr>
        <p:spPr>
          <a:xfrm>
            <a:off x="3732807" y="1000108"/>
            <a:ext cx="5411193" cy="313960"/>
          </a:xfrm>
          <a:prstGeom prst="rect">
            <a:avLst/>
          </a:prstGeom>
          <a:noFill/>
        </p:spPr>
        <p:txBody>
          <a:bodyPr wrap="square" lIns="93226" tIns="46614" rIns="93226" bIns="46614" rtlCol="0">
            <a:spAutoFit/>
          </a:bodyPr>
          <a:lstStyle/>
          <a:p>
            <a:pPr algn="ctr"/>
            <a:r>
              <a:rPr lang="ru-RU" sz="1400" b="1" dirty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Налоговые льготы</a:t>
            </a:r>
            <a:endParaRPr lang="ru-RU" sz="1400" dirty="0">
              <a:solidFill>
                <a:srgbClr val="00559B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5551109" name="Picture 5" descr="https://saahov.com/assets/2012/08/PFRF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58" y="1571612"/>
            <a:ext cx="792350" cy="80808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51111" name="Picture 7" descr="http://rarsmp.ru/includes/ffoms_logo.gif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95" r="10489"/>
          <a:stretch/>
        </p:blipFill>
        <p:spPr bwMode="auto">
          <a:xfrm>
            <a:off x="285720" y="3000372"/>
            <a:ext cx="808135" cy="79208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51113" name="Picture 9" descr="http://reskom-crimea.ru/wp-content/uploads/2015/01/1143.pn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39" r="12755"/>
          <a:stretch/>
        </p:blipFill>
        <p:spPr bwMode="auto">
          <a:xfrm>
            <a:off x="285720" y="4357694"/>
            <a:ext cx="808135" cy="68575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Прямоугольник 37"/>
          <p:cNvSpPr/>
          <p:nvPr/>
        </p:nvSpPr>
        <p:spPr>
          <a:xfrm>
            <a:off x="785786" y="1571612"/>
            <a:ext cx="2604058" cy="395268"/>
          </a:xfrm>
          <a:prstGeom prst="rect">
            <a:avLst/>
          </a:prstGeom>
        </p:spPr>
        <p:txBody>
          <a:bodyPr lIns="26233" tIns="26233" rIns="26233" bIns="26233" anchor="t">
            <a:noAutofit/>
          </a:bodyPr>
          <a:lstStyle/>
          <a:p>
            <a:pPr algn="ctr"/>
            <a:r>
              <a:rPr lang="ru-RU" sz="2000" dirty="0">
                <a:solidFill>
                  <a:schemeClr val="tx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2% </a:t>
            </a:r>
            <a:r>
              <a:rPr lang="ru-RU" sz="2000" dirty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/ 6%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785786" y="1928802"/>
            <a:ext cx="1721558" cy="395268"/>
          </a:xfrm>
          <a:prstGeom prst="rect">
            <a:avLst/>
          </a:prstGeom>
        </p:spPr>
        <p:txBody>
          <a:bodyPr lIns="26233" tIns="26233" rIns="26233" bIns="26233" anchor="t">
            <a:noAutofit/>
          </a:bodyPr>
          <a:lstStyle/>
          <a:p>
            <a:pPr algn="ctr"/>
            <a:r>
              <a:rPr lang="ru-RU" sz="1100" dirty="0">
                <a:solidFill>
                  <a:schemeClr val="tx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бщий </a:t>
            </a:r>
          </a:p>
          <a:p>
            <a:pPr algn="ctr"/>
            <a:r>
              <a:rPr lang="ru-RU" sz="1100" dirty="0">
                <a:solidFill>
                  <a:schemeClr val="tx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рядок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1714480" y="1928802"/>
            <a:ext cx="1721558" cy="395268"/>
          </a:xfrm>
          <a:prstGeom prst="rect">
            <a:avLst/>
          </a:prstGeom>
        </p:spPr>
        <p:txBody>
          <a:bodyPr lIns="26233" tIns="26233" rIns="26233" bIns="26233" anchor="t">
            <a:noAutofit/>
          </a:bodyPr>
          <a:lstStyle/>
          <a:p>
            <a:pPr algn="ctr"/>
            <a:r>
              <a:rPr lang="ru-RU" sz="1100" dirty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ТОСЭР</a:t>
            </a:r>
          </a:p>
          <a:p>
            <a:pPr algn="ctr"/>
            <a:r>
              <a:rPr lang="ru-RU" sz="1100" dirty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10 лет)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857224" y="2857496"/>
            <a:ext cx="2604058" cy="395268"/>
          </a:xfrm>
          <a:prstGeom prst="rect">
            <a:avLst/>
          </a:prstGeom>
        </p:spPr>
        <p:txBody>
          <a:bodyPr lIns="26233" tIns="26233" rIns="26233" bIns="26233" anchor="t">
            <a:noAutofit/>
          </a:bodyPr>
          <a:lstStyle/>
          <a:p>
            <a:pPr algn="ctr"/>
            <a:r>
              <a:rPr lang="ru-RU" sz="2000" dirty="0">
                <a:solidFill>
                  <a:schemeClr val="tx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,9% </a:t>
            </a:r>
            <a:r>
              <a:rPr lang="ru-RU" sz="2000" dirty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/ 1,5%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785786" y="3286124"/>
            <a:ext cx="1721558" cy="395268"/>
          </a:xfrm>
          <a:prstGeom prst="rect">
            <a:avLst/>
          </a:prstGeom>
        </p:spPr>
        <p:txBody>
          <a:bodyPr lIns="26233" tIns="26233" rIns="26233" bIns="26233" anchor="t">
            <a:noAutofit/>
          </a:bodyPr>
          <a:lstStyle/>
          <a:p>
            <a:pPr algn="ctr"/>
            <a:r>
              <a:rPr lang="ru-RU" sz="1100" dirty="0">
                <a:solidFill>
                  <a:schemeClr val="tx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бщий </a:t>
            </a:r>
          </a:p>
          <a:p>
            <a:pPr algn="ctr"/>
            <a:r>
              <a:rPr lang="ru-RU" sz="1100" dirty="0">
                <a:solidFill>
                  <a:schemeClr val="tx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рядок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1571604" y="3286124"/>
            <a:ext cx="1721558" cy="395268"/>
          </a:xfrm>
          <a:prstGeom prst="rect">
            <a:avLst/>
          </a:prstGeom>
        </p:spPr>
        <p:txBody>
          <a:bodyPr lIns="26233" tIns="26233" rIns="26233" bIns="26233" anchor="t">
            <a:noAutofit/>
          </a:bodyPr>
          <a:lstStyle/>
          <a:p>
            <a:pPr algn="ctr"/>
            <a:r>
              <a:rPr lang="ru-RU" sz="1100" dirty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ТОСЭР</a:t>
            </a:r>
          </a:p>
          <a:p>
            <a:pPr algn="ctr"/>
            <a:r>
              <a:rPr lang="ru-RU" sz="1100" dirty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10 лет)</a:t>
            </a:r>
          </a:p>
          <a:p>
            <a:pPr algn="ctr"/>
            <a:endParaRPr lang="ru-RU" sz="1100" dirty="0">
              <a:solidFill>
                <a:srgbClr val="00559B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928662" y="4143380"/>
            <a:ext cx="2604058" cy="395268"/>
          </a:xfrm>
          <a:prstGeom prst="rect">
            <a:avLst/>
          </a:prstGeom>
        </p:spPr>
        <p:txBody>
          <a:bodyPr lIns="26233" tIns="26233" rIns="26233" bIns="26233" anchor="t">
            <a:noAutofit/>
          </a:bodyPr>
          <a:lstStyle/>
          <a:p>
            <a:pPr algn="ctr"/>
            <a:r>
              <a:rPr lang="ru-RU" sz="2000" dirty="0">
                <a:solidFill>
                  <a:schemeClr val="tx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5,1% </a:t>
            </a:r>
            <a:r>
              <a:rPr lang="ru-RU" sz="2000" dirty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/ 0,1%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8662" y="4643446"/>
            <a:ext cx="1721558" cy="395268"/>
          </a:xfrm>
          <a:prstGeom prst="rect">
            <a:avLst/>
          </a:prstGeom>
        </p:spPr>
        <p:txBody>
          <a:bodyPr lIns="26233" tIns="26233" rIns="26233" bIns="26233" anchor="t">
            <a:noAutofit/>
          </a:bodyPr>
          <a:lstStyle/>
          <a:p>
            <a:pPr algn="ctr"/>
            <a:r>
              <a:rPr lang="ru-RU" sz="1100" dirty="0">
                <a:solidFill>
                  <a:schemeClr val="tx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бщий </a:t>
            </a:r>
          </a:p>
          <a:p>
            <a:pPr algn="ctr"/>
            <a:r>
              <a:rPr lang="ru-RU" sz="1100" dirty="0">
                <a:solidFill>
                  <a:schemeClr val="tx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рядок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1643042" y="4643446"/>
            <a:ext cx="1721558" cy="395268"/>
          </a:xfrm>
          <a:prstGeom prst="rect">
            <a:avLst/>
          </a:prstGeom>
        </p:spPr>
        <p:txBody>
          <a:bodyPr lIns="26233" tIns="26233" rIns="26233" bIns="26233" anchor="t">
            <a:noAutofit/>
          </a:bodyPr>
          <a:lstStyle/>
          <a:p>
            <a:pPr algn="ctr"/>
            <a:r>
              <a:rPr lang="ru-RU" sz="1100" dirty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ТОСЭР</a:t>
            </a:r>
          </a:p>
          <a:p>
            <a:pPr algn="ctr"/>
            <a:r>
              <a:rPr lang="ru-RU" sz="1100" dirty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10 лет)</a:t>
            </a:r>
          </a:p>
          <a:p>
            <a:pPr algn="ctr"/>
            <a:endParaRPr lang="ru-RU" sz="1100" dirty="0">
              <a:solidFill>
                <a:srgbClr val="00559B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214282" y="857232"/>
            <a:ext cx="3303221" cy="617359"/>
          </a:xfrm>
          <a:prstGeom prst="rect">
            <a:avLst/>
          </a:prstGeom>
          <a:noFill/>
        </p:spPr>
        <p:txBody>
          <a:bodyPr wrap="square" lIns="93226" tIns="46614" rIns="93226" bIns="46614" rtlCol="0">
            <a:spAutoFit/>
          </a:bodyPr>
          <a:lstStyle/>
          <a:p>
            <a:pPr algn="ctr"/>
            <a:r>
              <a:rPr lang="ru-RU" sz="1400" b="1" dirty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траховые взносы снижаются </a:t>
            </a:r>
          </a:p>
          <a:p>
            <a:pPr algn="ctr"/>
            <a:r>
              <a:rPr lang="ru-RU" sz="2000" b="1" dirty="0">
                <a:solidFill>
                  <a:schemeClr val="tx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 30% </a:t>
            </a:r>
            <a:r>
              <a:rPr lang="ru-RU" sz="2000" b="1" u="sng" dirty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о 7,6%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3500430" y="5786454"/>
            <a:ext cx="5390680" cy="525026"/>
          </a:xfrm>
          <a:prstGeom prst="rect">
            <a:avLst/>
          </a:prstGeom>
          <a:noFill/>
        </p:spPr>
        <p:txBody>
          <a:bodyPr wrap="square" lIns="93226" tIns="46614" rIns="93226" bIns="46614" rtlCol="0">
            <a:spAutoFit/>
          </a:bodyPr>
          <a:lstStyle/>
          <a:p>
            <a:pPr indent="-291551"/>
            <a:r>
              <a:rPr lang="ru-RU" sz="1400" b="1" dirty="0" smtClean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Земельный налог </a:t>
            </a:r>
          </a:p>
          <a:p>
            <a:pPr indent="-291551"/>
            <a:r>
              <a:rPr lang="ru-RU" sz="1400" b="1" dirty="0" smtClean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нижение с 1,5% - </a:t>
            </a:r>
            <a:r>
              <a:rPr lang="ru-RU" sz="1400" b="1" smtClean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0%</a:t>
            </a:r>
            <a:endParaRPr lang="ru-RU" sz="1400" b="1" dirty="0">
              <a:solidFill>
                <a:srgbClr val="00559B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8774610" y="6519173"/>
            <a:ext cx="291573" cy="314028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400" dirty="0">
                <a:solidFill>
                  <a:schemeClr val="accent6">
                    <a:lumMod val="50000"/>
                  </a:schemeClr>
                </a:solidFill>
              </a:rPr>
              <a:t>5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214282" y="5286388"/>
            <a:ext cx="321471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latin typeface="Arial" pitchFamily="34" charset="0"/>
                <a:cs typeface="Arial" pitchFamily="34" charset="0"/>
              </a:rPr>
              <a:t>Льготные тарифы страховых взносов применяются в отношении резидентов, получивших такой статус не позднее 3 лет со дня создания ТОСЭР</a:t>
            </a:r>
            <a:endParaRPr lang="ru-RU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3571868" y="1643050"/>
            <a:ext cx="1906291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Налог на прибыль</a:t>
            </a:r>
          </a:p>
          <a:p>
            <a:r>
              <a:rPr lang="ru-RU" sz="1400" b="1" dirty="0" smtClean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нижение</a:t>
            </a:r>
          </a:p>
          <a:p>
            <a:r>
              <a:rPr lang="ru-RU" sz="1400" b="1" dirty="0" smtClean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 20% до 12%</a:t>
            </a:r>
            <a:endParaRPr lang="ru-RU" sz="1400" b="1" dirty="0">
              <a:solidFill>
                <a:srgbClr val="00559B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572264" y="1643050"/>
            <a:ext cx="2169184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Налог на имущество </a:t>
            </a:r>
          </a:p>
          <a:p>
            <a:r>
              <a:rPr lang="ru-RU" sz="1400" b="1" dirty="0" smtClean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нижение</a:t>
            </a:r>
          </a:p>
          <a:p>
            <a:r>
              <a:rPr lang="ru-RU" sz="1400" b="1" dirty="0" smtClean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 2,2% до 0%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3571868" y="4143380"/>
            <a:ext cx="285752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latin typeface="Arial" pitchFamily="34" charset="0"/>
                <a:cs typeface="Arial" pitchFamily="34" charset="0"/>
              </a:rPr>
              <a:t>Начиная с налогового периода, в котором в соответствии с данными налогового учета была получена первая прибыль от деятельности, осуществляемой при исполнении соглашений об осуществлении деятельности на ТОСЭР </a:t>
            </a:r>
            <a:endParaRPr lang="ru-RU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6572264" y="2714620"/>
            <a:ext cx="2286016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latin typeface="Arial" pitchFamily="34" charset="0"/>
                <a:cs typeface="Arial" pitchFamily="34" charset="0"/>
              </a:rPr>
              <a:t>Ставка в отношении введенного в эксплуатацию вновь построенного недвижимого имущества, учитываемого на балансе организации, на период действия территории опережающего социально-экономического развития, с момента постановки имущества на учет</a:t>
            </a:r>
            <a:endParaRPr lang="ru-RU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0" y="5500702"/>
            <a:ext cx="330540" cy="630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500" b="1" dirty="0" smtClean="0">
                <a:solidFill>
                  <a:srgbClr val="FF0000"/>
                </a:solidFill>
              </a:rPr>
              <a:t>!</a:t>
            </a:r>
            <a:endParaRPr lang="ru-RU" sz="3500" b="1" dirty="0">
              <a:solidFill>
                <a:srgbClr val="FF0000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3571868" y="2714620"/>
            <a:ext cx="2269724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latin typeface="Arial" pitchFamily="34" charset="0"/>
                <a:cs typeface="Arial" pitchFamily="34" charset="0"/>
              </a:rPr>
              <a:t>Российская Федерация</a:t>
            </a:r>
          </a:p>
          <a:p>
            <a:r>
              <a:rPr lang="ru-RU" sz="1200" b="1" dirty="0" smtClean="0">
                <a:latin typeface="Arial" pitchFamily="34" charset="0"/>
                <a:cs typeface="Arial" pitchFamily="34" charset="0"/>
              </a:rPr>
              <a:t>Первые 5 лет-0%</a:t>
            </a:r>
          </a:p>
          <a:p>
            <a:r>
              <a:rPr lang="ru-RU" sz="1200" b="1" dirty="0" smtClean="0">
                <a:latin typeface="Arial" pitchFamily="34" charset="0"/>
                <a:cs typeface="Arial" pitchFamily="34" charset="0"/>
              </a:rPr>
              <a:t>Вторые 5 лет–2%</a:t>
            </a:r>
            <a:endParaRPr lang="ru-RU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3571868" y="3357562"/>
            <a:ext cx="1999265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latin typeface="Arial" pitchFamily="34" charset="0"/>
                <a:cs typeface="Arial" pitchFamily="34" charset="0"/>
              </a:rPr>
              <a:t>Забайкальский край</a:t>
            </a:r>
          </a:p>
          <a:p>
            <a:r>
              <a:rPr lang="ru-RU" sz="1200" b="1" dirty="0" smtClean="0">
                <a:latin typeface="Arial" pitchFamily="34" charset="0"/>
                <a:cs typeface="Arial" pitchFamily="34" charset="0"/>
              </a:rPr>
              <a:t>Первые 5 лет-5%</a:t>
            </a:r>
          </a:p>
          <a:p>
            <a:r>
              <a:rPr lang="ru-RU" sz="1200" b="1" dirty="0" smtClean="0">
                <a:latin typeface="Arial" pitchFamily="34" charset="0"/>
                <a:cs typeface="Arial" pitchFamily="34" charset="0"/>
              </a:rPr>
              <a:t>Вторые 5 лет–10%</a:t>
            </a:r>
            <a:endParaRPr lang="ru-RU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6215074" y="2714620"/>
            <a:ext cx="330540" cy="630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500" b="1" dirty="0" smtClean="0">
                <a:solidFill>
                  <a:srgbClr val="FF0000"/>
                </a:solidFill>
              </a:rPr>
              <a:t>!</a:t>
            </a:r>
            <a:endParaRPr lang="ru-RU" sz="3500" b="1" dirty="0">
              <a:solidFill>
                <a:srgbClr val="FF0000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3214678" y="4214818"/>
            <a:ext cx="330540" cy="630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500" b="1" dirty="0" smtClean="0">
                <a:solidFill>
                  <a:srgbClr val="FF0000"/>
                </a:solidFill>
              </a:rPr>
              <a:t>!</a:t>
            </a:r>
            <a:endParaRPr lang="ru-RU" sz="35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47253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0034" y="142852"/>
            <a:ext cx="8229600" cy="796908"/>
          </a:xfrm>
        </p:spPr>
        <p:txBody>
          <a:bodyPr>
            <a:normAutofit/>
          </a:bodyPr>
          <a:lstStyle/>
          <a:p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Кроме того, Правительство Забайкальского края обеспечит:</a:t>
            </a:r>
            <a:endParaRPr lang="ru-RU" sz="20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>
          <a:xfrm>
            <a:off x="1928795" y="857232"/>
            <a:ext cx="6715172" cy="5643602"/>
          </a:xfrm>
        </p:spPr>
        <p:txBody>
          <a:bodyPr>
            <a:normAutofit fontScale="47500" lnSpcReduction="20000"/>
          </a:bodyPr>
          <a:lstStyle/>
          <a:p>
            <a:pPr>
              <a:buFont typeface="Arial" pitchFamily="34" charset="0"/>
              <a:buChar char="•"/>
            </a:pPr>
            <a:r>
              <a:rPr lang="ru-RU" sz="3100" dirty="0" smtClean="0">
                <a:latin typeface="Arial" pitchFamily="34" charset="0"/>
                <a:cs typeface="Arial" pitchFamily="34" charset="0"/>
              </a:rPr>
              <a:t> Персональное закрепление куратора за проектом;</a:t>
            </a:r>
          </a:p>
          <a:p>
            <a:pPr>
              <a:buFont typeface="Arial" pitchFamily="34" charset="0"/>
              <a:buChar char="•"/>
            </a:pPr>
            <a:r>
              <a:rPr lang="ru-RU" sz="3100" dirty="0" smtClean="0">
                <a:latin typeface="Arial" pitchFamily="34" charset="0"/>
                <a:cs typeface="Arial" pitchFamily="34" charset="0"/>
              </a:rPr>
              <a:t> Сопровождение проекта в режиме проектного управления;</a:t>
            </a:r>
          </a:p>
          <a:p>
            <a:pPr>
              <a:buFont typeface="Arial" pitchFamily="34" charset="0"/>
              <a:buChar char="•"/>
            </a:pPr>
            <a:r>
              <a:rPr lang="ru-RU" sz="3100" dirty="0" smtClean="0">
                <a:latin typeface="Arial" pitchFamily="34" charset="0"/>
                <a:cs typeface="Arial" pitchFamily="34" charset="0"/>
              </a:rPr>
              <a:t> Содействие по принципу «Одного окна»;</a:t>
            </a:r>
          </a:p>
          <a:p>
            <a:pPr>
              <a:buFont typeface="Arial" pitchFamily="34" charset="0"/>
              <a:buChar char="•"/>
            </a:pPr>
            <a:r>
              <a:rPr lang="ru-RU" sz="3100" dirty="0" smtClean="0">
                <a:latin typeface="Arial" pitchFamily="34" charset="0"/>
                <a:cs typeface="Arial" pitchFamily="34" charset="0"/>
              </a:rPr>
              <a:t> Льготы для резидентов промышленного парка:</a:t>
            </a:r>
          </a:p>
          <a:p>
            <a:r>
              <a:rPr lang="ru-RU" sz="3100" dirty="0" smtClean="0">
                <a:latin typeface="Arial" pitchFamily="34" charset="0"/>
                <a:cs typeface="Arial" pitchFamily="34" charset="0"/>
              </a:rPr>
              <a:t>          предоставление инвестиционного налогового кредита;</a:t>
            </a:r>
          </a:p>
          <a:p>
            <a:pPr algn="just"/>
            <a:r>
              <a:rPr lang="ru-RU" sz="3100" dirty="0" smtClean="0">
                <a:latin typeface="Arial" pitchFamily="34" charset="0"/>
                <a:cs typeface="Arial" pitchFamily="34" charset="0"/>
              </a:rPr>
              <a:t>          предоставление льгот по аренде имущества, являющегося государственной собственностью Забайкальского края;</a:t>
            </a:r>
          </a:p>
          <a:p>
            <a:pPr algn="just"/>
            <a:r>
              <a:rPr lang="ru-RU" sz="3100" dirty="0" smtClean="0">
                <a:latin typeface="Arial" pitchFamily="34" charset="0"/>
                <a:cs typeface="Arial" pitchFamily="34" charset="0"/>
              </a:rPr>
              <a:t>          снижение налоговой ставки до 5% при применении налогоплательщиком-резидентом промышленного парка упрощенной системы налогообложения и др.</a:t>
            </a:r>
          </a:p>
          <a:p>
            <a:pPr lvl="0">
              <a:buFont typeface="Arial" pitchFamily="34" charset="0"/>
              <a:buChar char="•"/>
            </a:pPr>
            <a:r>
              <a:rPr lang="ru-RU" sz="3100" dirty="0" smtClean="0">
                <a:latin typeface="Arial" pitchFamily="34" charset="0"/>
                <a:cs typeface="Arial" pitchFamily="34" charset="0"/>
              </a:rPr>
              <a:t> Гранты начинающим субъектам малого предпринимательства;</a:t>
            </a:r>
          </a:p>
          <a:p>
            <a:pPr algn="just">
              <a:buFont typeface="Arial" pitchFamily="34" charset="0"/>
              <a:buChar char="•"/>
            </a:pPr>
            <a:r>
              <a:rPr lang="ru-RU" sz="3100" dirty="0" smtClean="0">
                <a:latin typeface="Arial" pitchFamily="34" charset="0"/>
                <a:cs typeface="Arial" pitchFamily="34" charset="0"/>
              </a:rPr>
              <a:t> Субсидии в целях возмещения затрат субъектов малого и среднего предпринимательства, понесенных ими в ходе реализации </a:t>
            </a:r>
            <a:r>
              <a:rPr lang="ru-RU" sz="3100" dirty="0" err="1" smtClean="0">
                <a:latin typeface="Arial" pitchFamily="34" charset="0"/>
                <a:cs typeface="Arial" pitchFamily="34" charset="0"/>
              </a:rPr>
              <a:t>бизнес-проектов</a:t>
            </a:r>
            <a:r>
              <a:rPr lang="ru-RU" sz="3100" dirty="0" smtClean="0">
                <a:latin typeface="Arial" pitchFamily="34" charset="0"/>
                <a:cs typeface="Arial" pitchFamily="34" charset="0"/>
              </a:rPr>
              <a:t>:</a:t>
            </a:r>
          </a:p>
          <a:p>
            <a:r>
              <a:rPr lang="ru-RU" sz="3100" dirty="0" smtClean="0">
                <a:latin typeface="Arial" pitchFamily="34" charset="0"/>
                <a:cs typeface="Arial" pitchFamily="34" charset="0"/>
              </a:rPr>
              <a:t>          на уплату процентов по кредитам в размере 3/4 ключевой ставки и до 1,5 млн. рублей; </a:t>
            </a:r>
          </a:p>
          <a:p>
            <a:r>
              <a:rPr lang="ru-RU" sz="3100" dirty="0" smtClean="0">
                <a:latin typeface="Arial" pitchFamily="34" charset="0"/>
                <a:cs typeface="Arial" pitchFamily="34" charset="0"/>
              </a:rPr>
              <a:t>          при приобретении оборудования в размере до 10 млн. рублей, но не более 50 % от всех затрат; </a:t>
            </a:r>
          </a:p>
          <a:p>
            <a:r>
              <a:rPr lang="ru-RU" sz="3100" dirty="0" smtClean="0">
                <a:latin typeface="Arial" pitchFamily="34" charset="0"/>
                <a:cs typeface="Arial" pitchFamily="34" charset="0"/>
              </a:rPr>
              <a:t>          на уплату лизинговых платежей в размере 3/4 ключевой ставки и до 0,5 млн. рублей; </a:t>
            </a:r>
          </a:p>
          <a:p>
            <a:pPr algn="just"/>
            <a:r>
              <a:rPr lang="ru-RU" sz="3100" dirty="0" smtClean="0">
                <a:latin typeface="Arial" pitchFamily="34" charset="0"/>
                <a:cs typeface="Arial" pitchFamily="34" charset="0"/>
              </a:rPr>
              <a:t>          уплату первоначального взноса по лизингу оборудования в размере до 2 млн. рублей; </a:t>
            </a:r>
          </a:p>
          <a:p>
            <a:pPr algn="just"/>
            <a:r>
              <a:rPr lang="ru-RU" sz="3100" dirty="0" smtClean="0">
                <a:latin typeface="Arial" pitchFamily="34" charset="0"/>
                <a:cs typeface="Arial" pitchFamily="34" charset="0"/>
              </a:rPr>
              <a:t>          на реализацию инвестиционных проектов социальной направленности в размере 85 % от фактических затрат и до 1,5 млн. рублей.</a:t>
            </a:r>
          </a:p>
          <a:p>
            <a:r>
              <a:rPr lang="ru-RU" sz="3100" dirty="0" smtClean="0">
                <a:latin typeface="Arial" pitchFamily="34" charset="0"/>
                <a:cs typeface="Arial" pitchFamily="34" charset="0"/>
              </a:rPr>
              <a:t> </a:t>
            </a:r>
          </a:p>
          <a:p>
            <a:pPr>
              <a:buFont typeface="Arial" pitchFamily="34" charset="0"/>
              <a:buChar char="•"/>
            </a:pPr>
            <a:endParaRPr lang="ru-RU" dirty="0"/>
          </a:p>
        </p:txBody>
      </p:sp>
      <p:pic>
        <p:nvPicPr>
          <p:cNvPr id="4098" name="Picture 2" descr="https://im0-tub-ru.yandex.net/i?id=ba1d88e29dd484aad9932a19d36242b8&amp;n=33&amp;h=215&amp;w=23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4282" y="1214422"/>
            <a:ext cx="2209800" cy="2047876"/>
          </a:xfrm>
          <a:prstGeom prst="rect">
            <a:avLst/>
          </a:prstGeom>
          <a:noFill/>
        </p:spPr>
      </p:pic>
      <p:pic>
        <p:nvPicPr>
          <p:cNvPr id="4100" name="Picture 4" descr="http://www.sgqconsulting.ru/images/stati_sgq/organizational-chart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2" y="3286124"/>
            <a:ext cx="2143141" cy="1429475"/>
          </a:xfrm>
          <a:prstGeom prst="rect">
            <a:avLst/>
          </a:prstGeom>
          <a:noFill/>
        </p:spPr>
      </p:pic>
      <p:pic>
        <p:nvPicPr>
          <p:cNvPr id="4102" name="Picture 6" descr="http://tbis.ru/assets/images/subsidii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28596" y="5000636"/>
            <a:ext cx="2000264" cy="1333509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011221"/>
          </a:xfrm>
        </p:spPr>
        <p:txBody>
          <a:bodyPr>
            <a:normAutofit/>
          </a:bodyPr>
          <a:lstStyle/>
          <a:p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Перечень возможных видов деятельности на территории опережающего социально-экономического развития </a:t>
            </a:r>
            <a:r>
              <a:rPr lang="ru-RU" sz="2000" b="1" dirty="0" err="1" smtClean="0">
                <a:latin typeface="Arial" pitchFamily="34" charset="0"/>
                <a:cs typeface="Arial" pitchFamily="34" charset="0"/>
              </a:rPr>
              <a:t>Краснокаменск</a:t>
            </a:r>
            <a:r>
              <a:rPr lang="en-US" sz="2000" b="1" dirty="0" smtClean="0">
                <a:latin typeface="Arial" pitchFamily="34" charset="0"/>
                <a:cs typeface="Arial" pitchFamily="34" charset="0"/>
              </a:rPr>
              <a:t>*</a:t>
            </a:r>
            <a:r>
              <a:rPr lang="ru-RU" sz="2000" b="1" dirty="0" smtClean="0">
                <a:latin typeface="Arial" pitchFamily="34" charset="0"/>
                <a:cs typeface="Arial" pitchFamily="34" charset="0"/>
              </a:rPr>
              <a:t>:</a:t>
            </a:r>
            <a:endParaRPr lang="ru-RU" sz="20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  <a:latin typeface="Verdana"/>
              </a:rPr>
              <a:pPr/>
              <a:t>6</a:t>
            </a:fld>
            <a:endParaRPr lang="ru-RU" dirty="0">
              <a:solidFill>
                <a:srgbClr val="605D5C"/>
              </a:solidFill>
              <a:latin typeface="Verdana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2"/>
          </p:nvPr>
        </p:nvSpPr>
        <p:spPr>
          <a:xfrm>
            <a:off x="500034" y="1428736"/>
            <a:ext cx="8215370" cy="5000660"/>
          </a:xfrm>
        </p:spPr>
        <p:txBody>
          <a:bodyPr tIns="0" anchor="t">
            <a:noAutofit/>
          </a:bodyPr>
          <a:lstStyle/>
          <a:p>
            <a:pPr marL="0" lvl="0" algn="just" defTabSz="914400" fontAlgn="base">
              <a:spcBef>
                <a:spcPct val="0"/>
              </a:spcBef>
              <a:spcAft>
                <a:spcPct val="0"/>
              </a:spcAft>
              <a:tabLst>
                <a:tab pos="123825" algn="l"/>
                <a:tab pos="466725" algn="l"/>
              </a:tabLst>
            </a:pP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- </a:t>
            </a:r>
            <a:r>
              <a:rPr lang="ru-RU" sz="125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растениеводство и животноводство, охота и предоставление соответствующих услуг в этих областях;</a:t>
            </a:r>
            <a:endParaRPr lang="ru-RU" sz="1250" b="1" dirty="0" smtClean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lvl="0" algn="just" defTabSz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123825" algn="l"/>
                <a:tab pos="466725" algn="l"/>
              </a:tabLst>
            </a:pPr>
            <a:r>
              <a:rPr lang="ru-RU" sz="125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- производство пищевых продуктов;</a:t>
            </a:r>
            <a:endParaRPr lang="ru-RU" sz="1250" b="1" dirty="0" smtClean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lvl="0" algn="just" defTabSz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123825" algn="l"/>
                <a:tab pos="466725" algn="l"/>
              </a:tabLst>
            </a:pPr>
            <a:r>
              <a:rPr lang="ru-RU" sz="125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- производство безалкогольных напитков; производство минеральных вод и прочих питьевых вод в    бутылках;</a:t>
            </a:r>
            <a:endParaRPr lang="ru-RU" sz="1250" b="1" dirty="0" smtClean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lvl="0" algn="just" defTabSz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123825" algn="l"/>
                <a:tab pos="466725" algn="l"/>
              </a:tabLst>
            </a:pPr>
            <a:r>
              <a:rPr lang="ru-RU" sz="125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- производство текстильных изделий;</a:t>
            </a:r>
            <a:endParaRPr lang="ru-RU" sz="1250" b="1" dirty="0" smtClean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lvl="0" algn="just" defTabSz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123825" algn="l"/>
                <a:tab pos="466725" algn="l"/>
              </a:tabLst>
            </a:pPr>
            <a:r>
              <a:rPr lang="ru-RU" sz="125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- производство одежды;</a:t>
            </a:r>
            <a:endParaRPr lang="ru-RU" sz="1250" b="1" dirty="0" smtClean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lvl="0" algn="just" defTabSz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123825" algn="l"/>
                <a:tab pos="466725" algn="l"/>
              </a:tabLst>
            </a:pPr>
            <a:r>
              <a:rPr lang="ru-RU" sz="125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- производство кожи и изделий из кожи;</a:t>
            </a:r>
            <a:endParaRPr lang="ru-RU" sz="1250" b="1" dirty="0" smtClean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lvl="0" algn="just" defTabSz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123825" algn="l"/>
                <a:tab pos="466725" algn="l"/>
              </a:tabLst>
            </a:pPr>
            <a:r>
              <a:rPr lang="ru-RU" sz="125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- обработка древесины и производство изделий из дерева и пробки, кроме мебели, производство изделий из соломки и материалов для плетения;</a:t>
            </a:r>
            <a:endParaRPr lang="ru-RU" sz="1250" b="1" dirty="0" smtClean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lvl="0" algn="just" defTabSz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123825" algn="l"/>
                <a:tab pos="466725" algn="l"/>
              </a:tabLst>
            </a:pPr>
            <a:r>
              <a:rPr lang="ru-RU" sz="125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- производство бумаги и бумажных изделий;</a:t>
            </a:r>
            <a:endParaRPr lang="ru-RU" sz="1250" b="1" dirty="0" smtClean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lvl="0" algn="just" defTabSz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123825" algn="l"/>
                <a:tab pos="466725" algn="l"/>
              </a:tabLst>
            </a:pPr>
            <a:r>
              <a:rPr lang="ru-RU" sz="125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- производство химических веществ и химических продуктов;</a:t>
            </a:r>
            <a:endParaRPr lang="ru-RU" sz="1250" b="1" dirty="0" smtClean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lvl="0" algn="just" defTabSz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123825" algn="l"/>
                <a:tab pos="466725" algn="l"/>
              </a:tabLst>
            </a:pPr>
            <a:r>
              <a:rPr lang="ru-RU" sz="125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- производство лекарственных средств и материалов, применяемых в медицинских целях;</a:t>
            </a:r>
            <a:endParaRPr lang="ru-RU" sz="1250" b="1" dirty="0" smtClean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lvl="0" algn="just" defTabSz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123825" algn="l"/>
                <a:tab pos="466725" algn="l"/>
              </a:tabLst>
            </a:pPr>
            <a:r>
              <a:rPr lang="ru-RU" sz="125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- производство резиновых и пластмассовых изделий;</a:t>
            </a:r>
            <a:endParaRPr lang="ru-RU" sz="1250" b="1" dirty="0" smtClean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lvl="0" algn="just" defTabSz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123825" algn="l"/>
                <a:tab pos="466725" algn="l"/>
              </a:tabLst>
            </a:pPr>
            <a:r>
              <a:rPr lang="ru-RU" sz="125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- производство прочей неметаллической минеральной продукции;</a:t>
            </a:r>
            <a:endParaRPr lang="ru-RU" sz="1250" b="1" dirty="0" smtClean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algn="just" eaLnBrk="0" fontAlgn="base" hangingPunct="0">
              <a:spcBef>
                <a:spcPct val="0"/>
              </a:spcBef>
              <a:spcAft>
                <a:spcPct val="0"/>
              </a:spcAft>
              <a:tabLst>
                <a:tab pos="123825" algn="l"/>
                <a:tab pos="466725" algn="l"/>
              </a:tabLst>
            </a:pPr>
            <a:r>
              <a:rPr lang="ru-RU" sz="125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- производство металлургическое;</a:t>
            </a:r>
          </a:p>
          <a:p>
            <a:pPr marL="0" algn="just" eaLnBrk="0" fontAlgn="base" hangingPunct="0">
              <a:spcBef>
                <a:spcPct val="0"/>
              </a:spcBef>
              <a:spcAft>
                <a:spcPct val="0"/>
              </a:spcAft>
              <a:tabLst>
                <a:tab pos="123825" algn="l"/>
                <a:tab pos="466725" algn="l"/>
              </a:tabLst>
            </a:pPr>
            <a:r>
              <a:rPr lang="ru-RU" sz="125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- производство готовых металлических изделий, кроме машин и оборудования;</a:t>
            </a:r>
          </a:p>
          <a:p>
            <a:pPr marL="0" algn="just" eaLnBrk="0" fontAlgn="base" hangingPunct="0">
              <a:spcBef>
                <a:spcPct val="0"/>
              </a:spcBef>
              <a:spcAft>
                <a:spcPct val="0"/>
              </a:spcAft>
              <a:tabLst>
                <a:tab pos="123825" algn="l"/>
                <a:tab pos="466725" algn="l"/>
              </a:tabLst>
            </a:pPr>
            <a:r>
              <a:rPr lang="ru-RU" sz="125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- производство компьютеров, электронных и оптических изделий;</a:t>
            </a:r>
          </a:p>
          <a:p>
            <a:pPr marL="0" algn="just" eaLnBrk="0" fontAlgn="base" hangingPunct="0">
              <a:spcBef>
                <a:spcPct val="0"/>
              </a:spcBef>
              <a:spcAft>
                <a:spcPct val="0"/>
              </a:spcAft>
              <a:tabLst>
                <a:tab pos="123825" algn="l"/>
                <a:tab pos="466725" algn="l"/>
              </a:tabLst>
            </a:pPr>
            <a:r>
              <a:rPr lang="ru-RU" sz="125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- производство машин и оборудования, не включенных в другие группировки;</a:t>
            </a:r>
          </a:p>
          <a:p>
            <a:pPr marL="0" algn="just" eaLnBrk="0" fontAlgn="base" hangingPunct="0">
              <a:spcBef>
                <a:spcPct val="0"/>
              </a:spcBef>
              <a:spcAft>
                <a:spcPct val="0"/>
              </a:spcAft>
              <a:tabLst>
                <a:tab pos="123825" algn="l"/>
                <a:tab pos="466725" algn="l"/>
              </a:tabLst>
            </a:pPr>
            <a:r>
              <a:rPr lang="ru-RU" sz="125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- производство мебели;</a:t>
            </a:r>
          </a:p>
          <a:p>
            <a:pPr marL="0" algn="just" eaLnBrk="0" fontAlgn="base" hangingPunct="0">
              <a:spcBef>
                <a:spcPct val="0"/>
              </a:spcBef>
              <a:spcAft>
                <a:spcPct val="0"/>
              </a:spcAft>
              <a:tabLst>
                <a:tab pos="123825" algn="l"/>
                <a:tab pos="466725" algn="l"/>
              </a:tabLst>
            </a:pPr>
            <a:r>
              <a:rPr lang="ru-RU" sz="125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- производство прочих готовых изделий;</a:t>
            </a:r>
          </a:p>
          <a:p>
            <a:pPr marL="0" algn="just" eaLnBrk="0" fontAlgn="base" hangingPunct="0">
              <a:spcBef>
                <a:spcPct val="0"/>
              </a:spcBef>
              <a:spcAft>
                <a:spcPct val="0"/>
              </a:spcAft>
              <a:tabLst>
                <a:tab pos="123825" algn="l"/>
                <a:tab pos="466725" algn="l"/>
              </a:tabLst>
            </a:pPr>
            <a:r>
              <a:rPr lang="ru-RU" sz="125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- ремонт и монтаж машин и оборудования;</a:t>
            </a:r>
          </a:p>
          <a:p>
            <a:pPr marL="0" algn="just" eaLnBrk="0" fontAlgn="base" hangingPunct="0">
              <a:spcBef>
                <a:spcPct val="0"/>
              </a:spcBef>
              <a:spcAft>
                <a:spcPct val="0"/>
              </a:spcAft>
              <a:tabLst>
                <a:tab pos="123825" algn="l"/>
                <a:tab pos="466725" algn="l"/>
              </a:tabLst>
            </a:pPr>
            <a:r>
              <a:rPr lang="ru-RU" sz="125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- деятельность по предоставлению мест для временного проживания;</a:t>
            </a:r>
          </a:p>
          <a:p>
            <a:pPr marL="0" algn="just" eaLnBrk="0" fontAlgn="base" hangingPunct="0">
              <a:spcBef>
                <a:spcPct val="0"/>
              </a:spcBef>
              <a:spcAft>
                <a:spcPct val="0"/>
              </a:spcAft>
              <a:tabLst>
                <a:tab pos="123825" algn="l"/>
                <a:tab pos="466725" algn="l"/>
              </a:tabLst>
            </a:pPr>
            <a:r>
              <a:rPr lang="ru-RU" sz="125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- деятельность по предоставлению продуктов питания и напитков;</a:t>
            </a:r>
          </a:p>
          <a:p>
            <a:pPr marL="0" algn="just" eaLnBrk="0" fontAlgn="base" hangingPunct="0">
              <a:spcBef>
                <a:spcPct val="0"/>
              </a:spcBef>
              <a:spcAft>
                <a:spcPct val="0"/>
              </a:spcAft>
              <a:tabLst>
                <a:tab pos="123825" algn="l"/>
                <a:tab pos="466725" algn="l"/>
              </a:tabLst>
            </a:pPr>
            <a:r>
              <a:rPr lang="ru-RU" sz="125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- деятельность в области здравоохранения. </a:t>
            </a:r>
            <a:endParaRPr lang="en-US" sz="1250" b="1" dirty="0" smtClean="0">
              <a:solidFill>
                <a:schemeClr val="tx2">
                  <a:lumMod val="75000"/>
                </a:schemeClr>
              </a:solidFill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0" lvl="0" indent="449263" algn="just" defTabSz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123825" algn="l"/>
                <a:tab pos="466725" algn="l"/>
              </a:tabLst>
            </a:pPr>
            <a:endParaRPr lang="en-US" sz="1250" dirty="0" smtClean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lvl="0" indent="449263" algn="just" defTabSz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123825" algn="l"/>
                <a:tab pos="466725" algn="l"/>
              </a:tabLst>
            </a:pPr>
            <a:endParaRPr lang="ru-RU" sz="1200" dirty="0" smtClean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endParaRPr lang="ru-RU" sz="12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97608" y="6555905"/>
            <a:ext cx="7346678" cy="197633"/>
          </a:xfrm>
          <a:prstGeom prst="rect">
            <a:avLst/>
          </a:prstGeom>
        </p:spPr>
        <p:txBody>
          <a:bodyPr lIns="26233" tIns="26233" rIns="26233" bIns="26233" anchor="t">
            <a:noAutofit/>
          </a:bodyPr>
          <a:lstStyle/>
          <a:p>
            <a:r>
              <a:rPr lang="ru-RU" sz="900" dirty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*Согласно ОКВЭД – Общероссийский классификатор видов экономической деятельности (ОК 029-2014)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726286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25470"/>
          </a:xfrm>
        </p:spPr>
        <p:txBody>
          <a:bodyPr/>
          <a:lstStyle/>
          <a:p>
            <a:r>
              <a:rPr lang="ru-RU" sz="1800" b="1" dirty="0">
                <a:latin typeface="Arial" pitchFamily="34" charset="0"/>
                <a:cs typeface="Arial" pitchFamily="34" charset="0"/>
              </a:rPr>
              <a:t>Условия участия инвесторов</a:t>
            </a:r>
            <a:endParaRPr lang="ru-RU" b="1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7921773" y="6519172"/>
            <a:ext cx="947613" cy="2915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8774610" y="6519173"/>
            <a:ext cx="291573" cy="314028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400" dirty="0">
                <a:solidFill>
                  <a:schemeClr val="accent6">
                    <a:lumMod val="50000"/>
                  </a:schemeClr>
                </a:solidFill>
              </a:rPr>
              <a:t>6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143503" y="1402000"/>
            <a:ext cx="3783431" cy="3818235"/>
          </a:xfrm>
          <a:prstGeom prst="rect">
            <a:avLst/>
          </a:prstGeom>
          <a:noFill/>
        </p:spPr>
        <p:txBody>
          <a:bodyPr wrap="square" lIns="93226" tIns="46614" rIns="93226" bIns="46614" rtlCol="0">
            <a:spAutoFit/>
          </a:bodyPr>
          <a:lstStyle/>
          <a:p>
            <a:pPr marL="291551" indent="-291551"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инимальный объем капитальных вложений </a:t>
            </a:r>
            <a:r>
              <a:rPr lang="ru-RU" dirty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езидента в рамках инвестиционного проекта (в течение первого года) – </a:t>
            </a:r>
            <a:r>
              <a:rPr lang="ru-RU" u="sng" dirty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5 млн руб</a:t>
            </a:r>
            <a:r>
              <a:rPr lang="ru-RU" u="sng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.</a:t>
            </a:r>
            <a:r>
              <a:rPr lang="ru-RU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endParaRPr lang="ru-RU" b="1" dirty="0">
              <a:solidFill>
                <a:srgbClr val="00559B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91551" indent="-291551"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инимальное количество новых постоянных рабочих мест, </a:t>
            </a:r>
            <a:r>
              <a:rPr lang="ru-RU" dirty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озданных в рамках инвестиционного проекта (в течение первого года) – </a:t>
            </a:r>
            <a:r>
              <a:rPr lang="ru-RU" u="sng" dirty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 единиц</a:t>
            </a:r>
          </a:p>
          <a:p>
            <a:pPr marL="291551" indent="-291551">
              <a:buFont typeface="Arial" panose="020B0604020202020204" pitchFamily="34" charset="0"/>
              <a:buChar char="•"/>
            </a:pPr>
            <a:endParaRPr lang="ru-RU" sz="1400" u="sng" dirty="0">
              <a:solidFill>
                <a:srgbClr val="00559B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91551" indent="-291551">
              <a:buFont typeface="Arial" panose="020B0604020202020204" pitchFamily="34" charset="0"/>
              <a:buChar char="•"/>
            </a:pPr>
            <a:endParaRPr lang="ru-RU" sz="1200" i="1" dirty="0">
              <a:solidFill>
                <a:srgbClr val="00559B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500034" y="1071546"/>
            <a:ext cx="4214841" cy="5000660"/>
            <a:chOff x="458115" y="1978855"/>
            <a:chExt cx="3579941" cy="4103934"/>
          </a:xfrm>
        </p:grpSpPr>
        <p:pic>
          <p:nvPicPr>
            <p:cNvPr id="11" name="Picture 1" descr="\\ARMZ.RU\DFSRoot\Public\Common\Everyone\Для Крупянко\ППГХО\DSC_0713.JP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58115" y="3896501"/>
              <a:ext cx="1266560" cy="1906955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2" name="Picture 4" descr="http://im6-tub-ru.yandex.net/i?id=166928823-47-72&amp;n=21">
              <a:hlinkClick r:id="rId7"/>
            </p:cNvPr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2096635" y="4631509"/>
              <a:ext cx="1935040" cy="145128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13" name="Рисунок 12" descr="H:\Common\Everyone\Для Крупянко\ППГХО\GX0A9263.JPG"/>
            <p:cNvPicPr/>
            <p:nvPr/>
          </p:nvPicPr>
          <p:blipFill>
            <a:blip r:embed="rId9" cstate="print"/>
            <a:srcRect l="24620" t="9261" b="19858"/>
            <a:stretch>
              <a:fillRect/>
            </a:stretch>
          </p:blipFill>
          <p:spPr bwMode="auto">
            <a:xfrm>
              <a:off x="1064020" y="1978855"/>
              <a:ext cx="2974036" cy="169917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sp>
        <p:nvSpPr>
          <p:cNvPr id="15" name="TextBox 14"/>
          <p:cNvSpPr txBox="1"/>
          <p:nvPr/>
        </p:nvSpPr>
        <p:spPr>
          <a:xfrm>
            <a:off x="642910" y="4286256"/>
            <a:ext cx="237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78667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96908"/>
          </a:xfrm>
        </p:spPr>
        <p:txBody>
          <a:bodyPr>
            <a:normAutofit/>
          </a:bodyPr>
          <a:lstStyle/>
          <a:p>
            <a:r>
              <a:rPr lang="ru-RU" sz="2500" b="1" dirty="0" smtClean="0">
                <a:latin typeface="Arial" pitchFamily="34" charset="0"/>
                <a:cs typeface="Arial" pitchFamily="34" charset="0"/>
              </a:rPr>
              <a:t>Тарифы</a:t>
            </a:r>
            <a:endParaRPr lang="ru-RU" sz="25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>
          <a:xfrm>
            <a:off x="500034" y="1214422"/>
            <a:ext cx="8176561" cy="603440"/>
          </a:xfrm>
        </p:spPr>
        <p:txBody>
          <a:bodyPr>
            <a:normAutofit/>
          </a:bodyPr>
          <a:lstStyle/>
          <a:p>
            <a:pPr algn="ctr"/>
            <a:r>
              <a:rPr lang="en-US" sz="2500" b="1" dirty="0" smtClean="0">
                <a:latin typeface="Arial" pitchFamily="34" charset="0"/>
                <a:cs typeface="Arial" pitchFamily="34" charset="0"/>
              </a:rPr>
              <a:t>II</a:t>
            </a:r>
            <a:r>
              <a:rPr lang="ru-RU" sz="2500" b="1" dirty="0" smtClean="0">
                <a:latin typeface="Arial" pitchFamily="34" charset="0"/>
                <a:cs typeface="Arial" pitchFamily="34" charset="0"/>
              </a:rPr>
              <a:t> полугодие 2016 года</a:t>
            </a:r>
            <a:endParaRPr lang="ru-RU" sz="25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357158" y="5715016"/>
            <a:ext cx="8601859" cy="785818"/>
          </a:xfrm>
        </p:spPr>
        <p:txBody>
          <a:bodyPr>
            <a:noAutofit/>
          </a:bodyPr>
          <a:lstStyle/>
          <a:p>
            <a:r>
              <a:rPr lang="ru-RU" sz="14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Принимаются все необходимые действия для дальнейшего сохранения пониженных тарифов</a:t>
            </a:r>
          </a:p>
          <a:p>
            <a:endParaRPr lang="ru-RU" sz="1400" b="1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4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Тарифы указаны без НДС</a:t>
            </a:r>
            <a:endParaRPr lang="ru-RU" sz="1400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6" name="Схема 5"/>
          <p:cNvGraphicFramePr/>
          <p:nvPr/>
        </p:nvGraphicFramePr>
        <p:xfrm>
          <a:off x="571472" y="2000240"/>
          <a:ext cx="8072494" cy="1643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7" name="Схема 6"/>
          <p:cNvGraphicFramePr/>
          <p:nvPr/>
        </p:nvGraphicFramePr>
        <p:xfrm>
          <a:off x="571472" y="4143380"/>
          <a:ext cx="8072494" cy="14700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5425149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b="1" dirty="0">
                <a:latin typeface="Arial" pitchFamily="34" charset="0"/>
                <a:cs typeface="Arial" pitchFamily="34" charset="0"/>
              </a:rPr>
              <a:t>Контактная информация </a:t>
            </a:r>
            <a:endParaRPr lang="ru-RU" b="1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7921773" y="6519172"/>
            <a:ext cx="947613" cy="2915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ru-RU"/>
          </a:p>
        </p:txBody>
      </p:sp>
      <p:sp>
        <p:nvSpPr>
          <p:cNvPr id="22" name="TextBox 21"/>
          <p:cNvSpPr txBox="1"/>
          <p:nvPr/>
        </p:nvSpPr>
        <p:spPr>
          <a:xfrm>
            <a:off x="8774610" y="6519173"/>
            <a:ext cx="291573" cy="314028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400" dirty="0">
                <a:solidFill>
                  <a:schemeClr val="accent6">
                    <a:lumMod val="50000"/>
                  </a:schemeClr>
                </a:solidFill>
              </a:rPr>
              <a:t>7</a:t>
            </a:r>
          </a:p>
        </p:txBody>
      </p:sp>
      <p:grpSp>
        <p:nvGrpSpPr>
          <p:cNvPr id="3" name="Группа 30"/>
          <p:cNvGrpSpPr/>
          <p:nvPr/>
        </p:nvGrpSpPr>
        <p:grpSpPr>
          <a:xfrm>
            <a:off x="950929" y="1203133"/>
            <a:ext cx="7908286" cy="1538737"/>
            <a:chOff x="950993" y="1245856"/>
            <a:chExt cx="7750395" cy="1508105"/>
          </a:xfrm>
        </p:grpSpPr>
        <p:pic>
          <p:nvPicPr>
            <p:cNvPr id="23" name="Picture 2" descr="http://0.avatars.yandex.net/get-entity_search/aHR0cDovL3VwbG9hZC53aWtpbWVkaWEub3JnL3dpa2lwZWRpYS9jb21tb25zLzcvNzMvQ2hpdGFfT2JsYXN0X2NvYXRfb2ZfYXJtcy5qcGc-/S120xU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0993" y="1639908"/>
              <a:ext cx="604195" cy="720000"/>
            </a:xfrm>
            <a:prstGeom prst="rect">
              <a:avLst/>
            </a:prstGeom>
            <a:noFill/>
          </p:spPr>
        </p:pic>
        <p:sp>
          <p:nvSpPr>
            <p:cNvPr id="10" name="TextBox 9"/>
            <p:cNvSpPr txBox="1"/>
            <p:nvPr/>
          </p:nvSpPr>
          <p:spPr>
            <a:xfrm>
              <a:off x="2301333" y="1245856"/>
              <a:ext cx="6400055" cy="15081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183030">
                <a:buClr>
                  <a:srgbClr val="005983"/>
                </a:buClr>
                <a:buSzPct val="150000"/>
                <a:defRPr/>
              </a:pPr>
              <a:r>
                <a:rPr lang="ru-RU" b="1" dirty="0">
                  <a:solidFill>
                    <a:srgbClr val="00559B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Новиченко Сергей Сергеевич</a:t>
              </a:r>
            </a:p>
            <a:p>
              <a:pPr defTabSz="183030">
                <a:buClr>
                  <a:srgbClr val="005983"/>
                </a:buClr>
                <a:buSzPct val="150000"/>
                <a:defRPr/>
              </a:pPr>
              <a:r>
                <a:rPr lang="ru-RU" sz="1200" dirty="0">
                  <a:solidFill>
                    <a:srgbClr val="00559B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Заместитель председателя Правительства Забайкальского края – </a:t>
              </a:r>
            </a:p>
            <a:p>
              <a:pPr defTabSz="183030">
                <a:buClr>
                  <a:srgbClr val="005983"/>
                </a:buClr>
                <a:buSzPct val="150000"/>
                <a:defRPr/>
              </a:pPr>
              <a:r>
                <a:rPr lang="ru-RU" sz="1200" dirty="0">
                  <a:solidFill>
                    <a:srgbClr val="00559B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Министр экономического развития Забайкальского края</a:t>
              </a:r>
            </a:p>
            <a:p>
              <a:pPr defTabSz="183030">
                <a:buClr>
                  <a:srgbClr val="005983"/>
                </a:buClr>
                <a:buSzPct val="150000"/>
                <a:defRPr/>
              </a:pPr>
              <a:r>
                <a:rPr lang="ru-RU" sz="1200" dirty="0">
                  <a:solidFill>
                    <a:srgbClr val="00559B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Россия, Забайкальский край, г. Чита, ул. Бутина, 72</a:t>
              </a:r>
            </a:p>
            <a:p>
              <a:pPr algn="just" defTabSz="183030">
                <a:buClr>
                  <a:srgbClr val="005983"/>
                </a:buClr>
                <a:buSzPct val="150000"/>
                <a:defRPr/>
              </a:pPr>
              <a:r>
                <a:rPr lang="ru-RU" sz="1200" dirty="0">
                  <a:solidFill>
                    <a:srgbClr val="00559B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Тел. +7 (3022) 40-17-69 (приемная)</a:t>
              </a:r>
            </a:p>
            <a:p>
              <a:pPr algn="just" defTabSz="183030">
                <a:buClr>
                  <a:srgbClr val="005983"/>
                </a:buClr>
                <a:buSzPct val="150000"/>
                <a:defRPr/>
              </a:pPr>
              <a:r>
                <a:rPr lang="ru-RU" sz="1200" dirty="0">
                  <a:solidFill>
                    <a:srgbClr val="00559B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Факс +7 (3022) 40-17-91</a:t>
              </a:r>
            </a:p>
            <a:p>
              <a:pPr algn="just" defTabSz="183030">
                <a:buClr>
                  <a:srgbClr val="005983"/>
                </a:buClr>
                <a:buSzPct val="150000"/>
                <a:defRPr/>
              </a:pPr>
              <a:r>
                <a:rPr lang="en-US" sz="1200" dirty="0">
                  <a:solidFill>
                    <a:srgbClr val="00559B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E-mail</a:t>
              </a:r>
              <a:r>
                <a:rPr lang="ru-RU" sz="1200" dirty="0">
                  <a:solidFill>
                    <a:srgbClr val="00559B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: </a:t>
              </a:r>
              <a:r>
                <a:rPr lang="en-US" sz="1400" kern="0" dirty="0">
                  <a:solidFill>
                    <a:sysClr val="windowText" lastClr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  <a:hlinkClick r:id="rId7"/>
                </a:rPr>
                <a:t>mineconom@economy.e-zab.ru</a:t>
              </a:r>
              <a:r>
                <a:rPr lang="ru-RU" sz="1200" kern="0" dirty="0">
                  <a:solidFill>
                    <a:sysClr val="windowText" lastClr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  </a:t>
              </a:r>
            </a:p>
          </p:txBody>
        </p:sp>
      </p:grpSp>
      <p:grpSp>
        <p:nvGrpSpPr>
          <p:cNvPr id="4" name="Группа 31"/>
          <p:cNvGrpSpPr/>
          <p:nvPr/>
        </p:nvGrpSpPr>
        <p:grpSpPr>
          <a:xfrm>
            <a:off x="968986" y="3081884"/>
            <a:ext cx="7890228" cy="1350320"/>
            <a:chOff x="968690" y="3072918"/>
            <a:chExt cx="7732698" cy="1323439"/>
          </a:xfrm>
        </p:grpSpPr>
        <p:sp>
          <p:nvSpPr>
            <p:cNvPr id="13" name="TextBox 12"/>
            <p:cNvSpPr txBox="1"/>
            <p:nvPr/>
          </p:nvSpPr>
          <p:spPr>
            <a:xfrm>
              <a:off x="2301333" y="3072918"/>
              <a:ext cx="6400055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183030">
                <a:buClr>
                  <a:srgbClr val="005983"/>
                </a:buClr>
                <a:buSzPct val="150000"/>
                <a:defRPr/>
              </a:pPr>
              <a:r>
                <a:rPr lang="ru-RU" b="1" dirty="0">
                  <a:solidFill>
                    <a:srgbClr val="00559B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Диденко Юрий Андреевич</a:t>
              </a:r>
            </a:p>
            <a:p>
              <a:pPr defTabSz="183030">
                <a:buClr>
                  <a:srgbClr val="005983"/>
                </a:buClr>
                <a:buSzPct val="150000"/>
                <a:defRPr/>
              </a:pPr>
              <a:r>
                <a:rPr lang="ru-RU" sz="1200" dirty="0">
                  <a:solidFill>
                    <a:srgbClr val="00559B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Глава городского поселения «Город Краснокаменск»</a:t>
              </a:r>
            </a:p>
            <a:p>
              <a:pPr defTabSz="183030">
                <a:buClr>
                  <a:srgbClr val="005983"/>
                </a:buClr>
                <a:buSzPct val="150000"/>
                <a:defRPr/>
              </a:pPr>
              <a:r>
                <a:rPr lang="ru-RU" sz="1200" dirty="0">
                  <a:solidFill>
                    <a:srgbClr val="00559B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Россия, Забайкальский край, г. Краснокаменск, 505</a:t>
              </a:r>
            </a:p>
            <a:p>
              <a:pPr algn="just" defTabSz="183030">
                <a:buClr>
                  <a:srgbClr val="005983"/>
                </a:buClr>
                <a:buSzPct val="150000"/>
                <a:defRPr/>
              </a:pPr>
              <a:r>
                <a:rPr lang="ru-RU" sz="1200" dirty="0">
                  <a:solidFill>
                    <a:srgbClr val="00559B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Тел. +7 (30245) 2-81-70, +7 (30245) 2-81-55 (приемная)</a:t>
              </a:r>
            </a:p>
            <a:p>
              <a:pPr algn="just" defTabSz="183030">
                <a:buClr>
                  <a:srgbClr val="005983"/>
                </a:buClr>
                <a:buSzPct val="150000"/>
                <a:defRPr/>
              </a:pPr>
              <a:r>
                <a:rPr lang="ru-RU" sz="1200" dirty="0">
                  <a:solidFill>
                    <a:srgbClr val="00559B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Факс +7 (30245) 2-81-16</a:t>
              </a:r>
            </a:p>
            <a:p>
              <a:pPr algn="just" defTabSz="183030">
                <a:buClr>
                  <a:srgbClr val="005983"/>
                </a:buClr>
                <a:buSzPct val="150000"/>
                <a:defRPr/>
              </a:pPr>
              <a:r>
                <a:rPr lang="en-US" sz="1200" dirty="0">
                  <a:solidFill>
                    <a:srgbClr val="00559B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E-mail</a:t>
              </a:r>
              <a:r>
                <a:rPr lang="ru-RU" sz="1200" dirty="0">
                  <a:solidFill>
                    <a:srgbClr val="00559B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: </a:t>
              </a:r>
              <a:r>
                <a:rPr lang="en-US" sz="1400" kern="0" dirty="0">
                  <a:solidFill>
                    <a:sysClr val="windowText" lastClr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  <a:hlinkClick r:id="rId8"/>
                </a:rPr>
                <a:t>adm.krasnokamensk@mail.ru </a:t>
              </a:r>
              <a:endParaRPr lang="ru-RU" sz="1400" kern="0" dirty="0">
                <a:solidFill>
                  <a:sysClr val="windowText" lastClr="000000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pic>
          <p:nvPicPr>
            <p:cNvPr id="17" name="Picture 4" descr="C:\Users\vasilyev.y.v\Desktop\Преза_КК\kraskam.gif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8690" y="3374637"/>
              <a:ext cx="568801" cy="72000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5" name="TextBox 14"/>
          <p:cNvSpPr txBox="1"/>
          <p:nvPr/>
        </p:nvSpPr>
        <p:spPr>
          <a:xfrm>
            <a:off x="2328777" y="4772217"/>
            <a:ext cx="6530437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83030">
              <a:buClr>
                <a:srgbClr val="005983"/>
              </a:buClr>
              <a:buSzPct val="150000"/>
              <a:defRPr/>
            </a:pPr>
            <a:r>
              <a:rPr lang="ru-RU" sz="1200" dirty="0" smtClean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тдел развития экономики  муниципальных образований </a:t>
            </a:r>
          </a:p>
          <a:p>
            <a:pPr defTabSz="183030">
              <a:buClr>
                <a:srgbClr val="005983"/>
              </a:buClr>
              <a:buSzPct val="150000"/>
              <a:defRPr/>
            </a:pPr>
            <a:r>
              <a:rPr lang="ru-RU" sz="1200" dirty="0" smtClean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инистерства экономического развития Забайкальского края</a:t>
            </a:r>
            <a:endParaRPr lang="ru-RU" sz="1200" dirty="0">
              <a:solidFill>
                <a:srgbClr val="00559B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defTabSz="183030">
              <a:buClr>
                <a:srgbClr val="005983"/>
              </a:buClr>
              <a:buSzPct val="150000"/>
              <a:defRPr/>
            </a:pPr>
            <a:r>
              <a:rPr lang="ru-RU" sz="1200" dirty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оссия, Забайкальский край, г. Чита, ул. </a:t>
            </a:r>
            <a:r>
              <a:rPr lang="ru-RU" sz="1200" dirty="0" err="1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Бутина</a:t>
            </a:r>
            <a:r>
              <a:rPr lang="ru-RU" sz="1200" dirty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, 72</a:t>
            </a:r>
          </a:p>
          <a:p>
            <a:pPr algn="just" defTabSz="183030">
              <a:buClr>
                <a:srgbClr val="005983"/>
              </a:buClr>
              <a:buSzPct val="150000"/>
              <a:defRPr/>
            </a:pPr>
            <a:r>
              <a:rPr lang="ru-RU" sz="1200" dirty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Тел. +7 (3022) </a:t>
            </a:r>
            <a:r>
              <a:rPr lang="ru-RU" sz="1200" smtClean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40-17- 74, +7 (3022) 40-17-76</a:t>
            </a:r>
            <a:endParaRPr lang="ru-RU" sz="1200" dirty="0">
              <a:solidFill>
                <a:srgbClr val="00559B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just" defTabSz="183030">
              <a:buClr>
                <a:srgbClr val="005983"/>
              </a:buClr>
              <a:buSzPct val="150000"/>
              <a:defRPr/>
            </a:pPr>
            <a:r>
              <a:rPr lang="ru-RU" sz="1200" dirty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Факс +7 (3022) 40-17-91</a:t>
            </a:r>
          </a:p>
          <a:p>
            <a:pPr algn="just" defTabSz="183030">
              <a:buClr>
                <a:srgbClr val="005983"/>
              </a:buClr>
              <a:buSzPct val="150000"/>
              <a:defRPr/>
            </a:pPr>
            <a:r>
              <a:rPr lang="en-US" sz="1200" dirty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-mail</a:t>
            </a:r>
            <a:r>
              <a:rPr lang="ru-RU" sz="1200" dirty="0">
                <a:solidFill>
                  <a:srgbClr val="00559B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: </a:t>
            </a:r>
            <a:r>
              <a:rPr lang="en-US" sz="1400" kern="0" dirty="0">
                <a:solidFill>
                  <a:sysClr val="windowText" lastClr="000000"/>
                </a:solidFill>
                <a:latin typeface="Tahoma" pitchFamily="34" charset="0"/>
                <a:ea typeface="Tahoma" pitchFamily="34" charset="0"/>
                <a:cs typeface="Tahoma" pitchFamily="34" charset="0"/>
                <a:hlinkClick r:id="rId7"/>
              </a:rPr>
              <a:t>region@e</a:t>
            </a:r>
            <a:r>
              <a:rPr lang="en-US" sz="1400" kern="0" dirty="0" smtClean="0">
                <a:solidFill>
                  <a:sysClr val="windowText" lastClr="000000"/>
                </a:solidFill>
                <a:latin typeface="Tahoma" pitchFamily="34" charset="0"/>
                <a:ea typeface="Tahoma" pitchFamily="34" charset="0"/>
                <a:cs typeface="Tahoma" pitchFamily="34" charset="0"/>
                <a:hlinkClick r:id="rId7"/>
              </a:rPr>
              <a:t>conomy.e-zab.ru</a:t>
            </a:r>
            <a:r>
              <a:rPr lang="ru-RU" sz="1200" kern="0" dirty="0" smtClean="0">
                <a:solidFill>
                  <a:sysClr val="windowText" lastClr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200" kern="0" dirty="0" smtClean="0">
                <a:solidFill>
                  <a:sysClr val="windowText" lastClr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200" kern="0" dirty="0" smtClean="0">
                <a:solidFill>
                  <a:sysClr val="windowText" lastClr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200" kern="0" dirty="0" smtClean="0">
                <a:solidFill>
                  <a:sysClr val="windowText" lastClr="0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endParaRPr lang="ru-RU" sz="1200" kern="0" dirty="0">
              <a:solidFill>
                <a:sysClr val="windowText" lastClr="000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16" name="Picture 2" descr="http://0.avatars.yandex.net/get-entity_search/aHR0cDovL3VwbG9hZC53aWtpbWVkaWEub3JnL3dpa2lwZWRpYS9jb21tb25zLzcvNzMvQ2hpdGFfT2JsYXN0X2NvYXRfb2ZfYXJtcy5qcGc-/S120xU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00100" y="5072074"/>
            <a:ext cx="616504" cy="73462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956333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5</TotalTime>
  <Words>855</Words>
  <Application>Microsoft Office PowerPoint</Application>
  <PresentationFormat>Экран (4:3)</PresentationFormat>
  <Paragraphs>155</Paragraphs>
  <Slides>9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7" baseType="lpstr">
      <vt:lpstr>Arial Unicode MS</vt:lpstr>
      <vt:lpstr>Arial</vt:lpstr>
      <vt:lpstr>Calibri</vt:lpstr>
      <vt:lpstr>Tahoma</vt:lpstr>
      <vt:lpstr>Times New Roman</vt:lpstr>
      <vt:lpstr>Verdana</vt:lpstr>
      <vt:lpstr>Тема Office</vt:lpstr>
      <vt:lpstr>think-cell Slide</vt:lpstr>
      <vt:lpstr>Территория  опережающего социально-экономического развития «Краснокаменск» (Забайкальский край)   Информация для инвесторов</vt:lpstr>
      <vt:lpstr>Создание территории опережающего социально-экономического развития «Краснокаменск»</vt:lpstr>
      <vt:lpstr>Что такое Краснокаменск?</vt:lpstr>
      <vt:lpstr>Льготы для инвесторов</vt:lpstr>
      <vt:lpstr>Кроме того, Правительство Забайкальского края обеспечит:</vt:lpstr>
      <vt:lpstr>Перечень возможных видов деятельности на территории опережающего социально-экономического развития Краснокаменск*:</vt:lpstr>
      <vt:lpstr>Условия участия инвесторов</vt:lpstr>
      <vt:lpstr>Тарифы</vt:lpstr>
      <vt:lpstr>Контактная информация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Территория опережающего социально-экономического развития «Краснокаменск» (Забайкальский край)   Информация для инвесторов</dc:title>
  <dc:creator>Pisarenko</dc:creator>
  <cp:lastModifiedBy>Tirskih</cp:lastModifiedBy>
  <cp:revision>27</cp:revision>
  <dcterms:created xsi:type="dcterms:W3CDTF">2016-09-19T06:06:37Z</dcterms:created>
  <dcterms:modified xsi:type="dcterms:W3CDTF">2016-10-10T01:05:26Z</dcterms:modified>
</cp:coreProperties>
</file>